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5" r:id="rId1"/>
    <p:sldMasterId id="2147483822" r:id="rId2"/>
  </p:sldMasterIdLst>
  <p:notesMasterIdLst>
    <p:notesMasterId r:id="rId16"/>
  </p:notesMasterIdLst>
  <p:handoutMasterIdLst>
    <p:handoutMasterId r:id="rId17"/>
  </p:handoutMasterIdLst>
  <p:sldIdLst>
    <p:sldId id="256" r:id="rId3"/>
    <p:sldId id="5762" r:id="rId4"/>
    <p:sldId id="5763" r:id="rId5"/>
    <p:sldId id="3515" r:id="rId6"/>
    <p:sldId id="266" r:id="rId7"/>
    <p:sldId id="270" r:id="rId8"/>
    <p:sldId id="259" r:id="rId9"/>
    <p:sldId id="261" r:id="rId10"/>
    <p:sldId id="5768" r:id="rId11"/>
    <p:sldId id="275" r:id="rId12"/>
    <p:sldId id="5765" r:id="rId13"/>
    <p:sldId id="5767" r:id="rId14"/>
    <p:sldId id="5766" r:id="rId15"/>
  </p:sldIdLst>
  <p:sldSz cx="9144000" cy="5143500" type="screen16x9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rstin Pieper" initials="KP" lastIdx="4" clrIdx="0">
    <p:extLst>
      <p:ext uri="{19B8F6BF-5375-455C-9EA6-DF929625EA0E}">
        <p15:presenceInfo xmlns:p15="http://schemas.microsoft.com/office/powerpoint/2012/main" userId="S::Kerstin.Pieper@nielsen.com::4d97462d-e4d6-4f73-8eac-d822c80f02f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889B"/>
    <a:srgbClr val="32BBB9"/>
    <a:srgbClr val="DCDEE6"/>
    <a:srgbClr val="F1F1F5"/>
    <a:srgbClr val="F7F7F9"/>
    <a:srgbClr val="D3D4DF"/>
    <a:srgbClr val="4D577D"/>
    <a:srgbClr val="002041"/>
    <a:srgbClr val="8D96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65920B-2436-4C97-B79C-D87853ABB029}" v="62" dt="2023-09-26T03:30:30.2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465" autoAdjust="0"/>
    <p:restoredTop sz="73279" autoAdjust="0"/>
  </p:normalViewPr>
  <p:slideViewPr>
    <p:cSldViewPr snapToObjects="1" showGuides="1">
      <p:cViewPr>
        <p:scale>
          <a:sx n="110" d="100"/>
          <a:sy n="110" d="100"/>
        </p:scale>
        <p:origin x="52" y="-15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256"/>
    </p:cViewPr>
  </p:sorterViewPr>
  <p:notesViewPr>
    <p:cSldViewPr snapToObjects="1" showGuides="1">
      <p:cViewPr varScale="1">
        <p:scale>
          <a:sx n="92" d="100"/>
          <a:sy n="92" d="100"/>
        </p:scale>
        <p:origin x="279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zymon Szemberg E.H.C." userId="282bf525-96de-4c8d-9919-5544f557666c" providerId="ADAL" clId="{8565920B-2436-4C97-B79C-D87853ABB029}"/>
    <pc:docChg chg="modSld">
      <pc:chgData name="Szymon Szemberg E.H.C." userId="282bf525-96de-4c8d-9919-5544f557666c" providerId="ADAL" clId="{8565920B-2436-4C97-B79C-D87853ABB029}" dt="2023-09-26T03:30:30.291" v="61" actId="1035"/>
      <pc:docMkLst>
        <pc:docMk/>
      </pc:docMkLst>
      <pc:sldChg chg="modSp">
        <pc:chgData name="Szymon Szemberg E.H.C." userId="282bf525-96de-4c8d-9919-5544f557666c" providerId="ADAL" clId="{8565920B-2436-4C97-B79C-D87853ABB029}" dt="2023-09-26T03:30:30.291" v="61" actId="1035"/>
        <pc:sldMkLst>
          <pc:docMk/>
          <pc:sldMk cId="173655612" sldId="261"/>
        </pc:sldMkLst>
        <pc:spChg chg="mod">
          <ac:chgData name="Szymon Szemberg E.H.C." userId="282bf525-96de-4c8d-9919-5544f557666c" providerId="ADAL" clId="{8565920B-2436-4C97-B79C-D87853ABB029}" dt="2023-09-26T03:30:30.291" v="61" actId="1035"/>
          <ac:spMkLst>
            <pc:docMk/>
            <pc:sldMk cId="173655612" sldId="261"/>
            <ac:spMk id="11" creationId="{87DDAFBB-89CC-3CA9-0A5C-61E09A7C59C9}"/>
          </ac:spMkLst>
        </pc:spChg>
        <pc:spChg chg="mod">
          <ac:chgData name="Szymon Szemberg E.H.C." userId="282bf525-96de-4c8d-9919-5544f557666c" providerId="ADAL" clId="{8565920B-2436-4C97-B79C-D87853ABB029}" dt="2023-09-26T03:30:30.291" v="61" actId="1035"/>
          <ac:spMkLst>
            <pc:docMk/>
            <pc:sldMk cId="173655612" sldId="261"/>
            <ac:spMk id="12" creationId="{E85D2B98-0CD5-E659-D560-2810DA6D964E}"/>
          </ac:spMkLst>
        </pc:spChg>
        <pc:grpChg chg="mod">
          <ac:chgData name="Szymon Szemberg E.H.C." userId="282bf525-96de-4c8d-9919-5544f557666c" providerId="ADAL" clId="{8565920B-2436-4C97-B79C-D87853ABB029}" dt="2023-09-26T03:30:30.291" v="61" actId="1035"/>
          <ac:grpSpMkLst>
            <pc:docMk/>
            <pc:sldMk cId="173655612" sldId="261"/>
            <ac:grpSpMk id="9" creationId="{E5B6DD40-835C-C775-0F08-A62C95A5F72E}"/>
          </ac:grpSpMkLst>
        </pc:grpChg>
      </pc:sldChg>
      <pc:sldChg chg="modSp">
        <pc:chgData name="Szymon Szemberg E.H.C." userId="282bf525-96de-4c8d-9919-5544f557666c" providerId="ADAL" clId="{8565920B-2436-4C97-B79C-D87853ABB029}" dt="2023-09-26T03:29:50.513" v="2" actId="1036"/>
        <pc:sldMkLst>
          <pc:docMk/>
          <pc:sldMk cId="3613409623" sldId="275"/>
        </pc:sldMkLst>
        <pc:spChg chg="mod">
          <ac:chgData name="Szymon Szemberg E.H.C." userId="282bf525-96de-4c8d-9919-5544f557666c" providerId="ADAL" clId="{8565920B-2436-4C97-B79C-D87853ABB029}" dt="2023-09-26T03:29:50.513" v="2" actId="1036"/>
          <ac:spMkLst>
            <pc:docMk/>
            <pc:sldMk cId="3613409623" sldId="275"/>
            <ac:spMk id="13" creationId="{CAC3D062-F2F5-5D3E-A811-A7968CE55E58}"/>
          </ac:spMkLst>
        </pc:spChg>
        <pc:spChg chg="mod">
          <ac:chgData name="Szymon Szemberg E.H.C." userId="282bf525-96de-4c8d-9919-5544f557666c" providerId="ADAL" clId="{8565920B-2436-4C97-B79C-D87853ABB029}" dt="2023-09-26T03:29:50.513" v="2" actId="1036"/>
          <ac:spMkLst>
            <pc:docMk/>
            <pc:sldMk cId="3613409623" sldId="275"/>
            <ac:spMk id="14" creationId="{77CCDF62-001E-CAF2-5B33-34E1C7F03799}"/>
          </ac:spMkLst>
        </pc:spChg>
        <pc:grpChg chg="mod">
          <ac:chgData name="Szymon Szemberg E.H.C." userId="282bf525-96de-4c8d-9919-5544f557666c" providerId="ADAL" clId="{8565920B-2436-4C97-B79C-D87853ABB029}" dt="2023-09-26T03:29:50.513" v="2" actId="1036"/>
          <ac:grpSpMkLst>
            <pc:docMk/>
            <pc:sldMk cId="3613409623" sldId="275"/>
            <ac:grpSpMk id="9" creationId="{587A28A8-9201-4B40-FD55-3C79A6374B9D}"/>
          </ac:grpSpMkLst>
        </pc:grpChg>
      </pc:sldChg>
      <pc:sldChg chg="modSp">
        <pc:chgData name="Szymon Szemberg E.H.C." userId="282bf525-96de-4c8d-9919-5544f557666c" providerId="ADAL" clId="{8565920B-2436-4C97-B79C-D87853ABB029}" dt="2023-09-26T03:30:09.375" v="37" actId="1038"/>
        <pc:sldMkLst>
          <pc:docMk/>
          <pc:sldMk cId="3887340652" sldId="5768"/>
        </pc:sldMkLst>
        <pc:spChg chg="mod">
          <ac:chgData name="Szymon Szemberg E.H.C." userId="282bf525-96de-4c8d-9919-5544f557666c" providerId="ADAL" clId="{8565920B-2436-4C97-B79C-D87853ABB029}" dt="2023-09-26T03:30:09.375" v="37" actId="1038"/>
          <ac:spMkLst>
            <pc:docMk/>
            <pc:sldMk cId="3887340652" sldId="5768"/>
            <ac:spMk id="24" creationId="{2AFDDF70-06A9-C6EE-9DF6-C2117DCF16C9}"/>
          </ac:spMkLst>
        </pc:spChg>
        <pc:spChg chg="mod">
          <ac:chgData name="Szymon Szemberg E.H.C." userId="282bf525-96de-4c8d-9919-5544f557666c" providerId="ADAL" clId="{8565920B-2436-4C97-B79C-D87853ABB029}" dt="2023-09-26T03:30:09.375" v="37" actId="1038"/>
          <ac:spMkLst>
            <pc:docMk/>
            <pc:sldMk cId="3887340652" sldId="5768"/>
            <ac:spMk id="25" creationId="{C3419837-A041-0F1A-0C8A-2EF4CF864A9B}"/>
          </ac:spMkLst>
        </pc:spChg>
        <pc:grpChg chg="mod">
          <ac:chgData name="Szymon Szemberg E.H.C." userId="282bf525-96de-4c8d-9919-5544f557666c" providerId="ADAL" clId="{8565920B-2436-4C97-B79C-D87853ABB029}" dt="2023-09-26T03:30:09.375" v="37" actId="1038"/>
          <ac:grpSpMkLst>
            <pc:docMk/>
            <pc:sldMk cId="3887340652" sldId="5768"/>
            <ac:grpSpMk id="23" creationId="{83671C3A-9D72-7777-D1EB-E7FBD7D5B419}"/>
          </ac:grpSpMkLst>
        </pc:gr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Christopher\sciebo\Projekte\WM%20Studie\Datenanalyse\Finale%20Modelle_2019052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73910552107986"/>
          <c:y val="7.5703934169241427E-2"/>
          <c:w val="0.76616674002033958"/>
          <c:h val="0.71895498608901598"/>
        </c:manualLayout>
      </c:layout>
      <c:lineChart>
        <c:grouping val="standard"/>
        <c:varyColors val="0"/>
        <c:ser>
          <c:idx val="0"/>
          <c:order val="0"/>
          <c:tx>
            <c:strRef>
              <c:f>Chart_Attention!$A$31</c:f>
              <c:strCache>
                <c:ptCount val="1"/>
                <c:pt idx="0">
                  <c:v>PredictedValue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Chart_Attention!$B$30:$AZ$30</c:f>
              <c:numCache>
                <c:formatCode>General</c:formatCode>
                <c:ptCount val="51"/>
                <c:pt idx="0" formatCode="0.00">
                  <c:v>-1</c:v>
                </c:pt>
                <c:pt idx="25" formatCode="0.00">
                  <c:v>0</c:v>
                </c:pt>
                <c:pt idx="50" formatCode="0.00">
                  <c:v>1</c:v>
                </c:pt>
              </c:numCache>
            </c:numRef>
          </c:cat>
          <c:val>
            <c:numRef>
              <c:f>Chart_Attention!$B$31:$AZ$31</c:f>
              <c:numCache>
                <c:formatCode>0.00</c:formatCode>
                <c:ptCount val="51"/>
                <c:pt idx="0">
                  <c:v>344.00377358335265</c:v>
                </c:pt>
                <c:pt idx="1">
                  <c:v>357.41973135039831</c:v>
                </c:pt>
                <c:pt idx="2">
                  <c:v>370.848369265325</c:v>
                </c:pt>
                <c:pt idx="3">
                  <c:v>384.25254741941524</c:v>
                </c:pt>
                <c:pt idx="4">
                  <c:v>397.59386021079001</c:v>
                </c:pt>
                <c:pt idx="5">
                  <c:v>410.83280553251626</c:v>
                </c:pt>
                <c:pt idx="6">
                  <c:v>423.92896761743378</c:v>
                </c:pt>
                <c:pt idx="7">
                  <c:v>436.84121248054032</c:v>
                </c:pt>
                <c:pt idx="8">
                  <c:v>449.52789474059966</c:v>
                </c:pt>
                <c:pt idx="9">
                  <c:v>461.94707445182451</c:v>
                </c:pt>
                <c:pt idx="10">
                  <c:v>474.05674243611844</c:v>
                </c:pt>
                <c:pt idx="11">
                  <c:v>485.81505247855063</c:v>
                </c:pt>
                <c:pt idx="12">
                  <c:v>497.1805586354933</c:v>
                </c:pt>
                <c:pt idx="13">
                  <c:v>508.11245580793332</c:v>
                </c:pt>
                <c:pt idx="14">
                  <c:v>518.57082165361146</c:v>
                </c:pt>
                <c:pt idx="15">
                  <c:v>528.5168578522181</c:v>
                </c:pt>
                <c:pt idx="16">
                  <c:v>537.91312869914771</c:v>
                </c:pt>
                <c:pt idx="17">
                  <c:v>546.72379498621524</c:v>
                </c:pt>
                <c:pt idx="18">
                  <c:v>554.91484113292768</c:v>
                </c:pt>
                <c:pt idx="19">
                  <c:v>562.45429355980184</c:v>
                </c:pt>
                <c:pt idx="20">
                  <c:v>569.31242834584191</c:v>
                </c:pt>
                <c:pt idx="21">
                  <c:v>575.4619662854426</c:v>
                </c:pt>
                <c:pt idx="22">
                  <c:v>580.87825355508494</c:v>
                </c:pt>
                <c:pt idx="23">
                  <c:v>585.53942631636448</c:v>
                </c:pt>
                <c:pt idx="24">
                  <c:v>589.42655771798275</c:v>
                </c:pt>
                <c:pt idx="25">
                  <c:v>592.52378591387821</c:v>
                </c:pt>
                <c:pt idx="26">
                  <c:v>594.81842188589906</c:v>
                </c:pt>
                <c:pt idx="27">
                  <c:v>596.30103604543547</c:v>
                </c:pt>
                <c:pt idx="28">
                  <c:v>596.96552278692195</c:v>
                </c:pt>
                <c:pt idx="29">
                  <c:v>596.80914237480454</c:v>
                </c:pt>
                <c:pt idx="30">
                  <c:v>595.83253976185858</c:v>
                </c:pt>
                <c:pt idx="31">
                  <c:v>594.03974015796473</c:v>
                </c:pt>
                <c:pt idx="32">
                  <c:v>591.43812139196575</c:v>
                </c:pt>
                <c:pt idx="33">
                  <c:v>588.03836333214952</c:v>
                </c:pt>
                <c:pt idx="34">
                  <c:v>583.85437485058878</c:v>
                </c:pt>
                <c:pt idx="35">
                  <c:v>578.90319903027171</c:v>
                </c:pt>
                <c:pt idx="36">
                  <c:v>573.20489751903915</c:v>
                </c:pt>
                <c:pt idx="37">
                  <c:v>566.78241512835905</c:v>
                </c:pt>
                <c:pt idx="38">
                  <c:v>559.66142595561598</c:v>
                </c:pt>
                <c:pt idx="39">
                  <c:v>551.87016247365364</c:v>
                </c:pt>
                <c:pt idx="40">
                  <c:v>543.43922917905536</c:v>
                </c:pt>
                <c:pt idx="41">
                  <c:v>534.40140251927346</c:v>
                </c:pt>
                <c:pt idx="42">
                  <c:v>524.79141892700443</c:v>
                </c:pt>
                <c:pt idx="43">
                  <c:v>514.64575287704338</c:v>
                </c:pt>
                <c:pt idx="44">
                  <c:v>504.00238694544191</c:v>
                </c:pt>
                <c:pt idx="45">
                  <c:v>492.90057589280343</c:v>
                </c:pt>
                <c:pt idx="46">
                  <c:v>481.38060681275658</c:v>
                </c:pt>
                <c:pt idx="47">
                  <c:v>469.48355738328439</c:v>
                </c:pt>
                <c:pt idx="48">
                  <c:v>457.25105423317115</c:v>
                </c:pt>
                <c:pt idx="49">
                  <c:v>444.72503338907279</c:v>
                </c:pt>
                <c:pt idx="50">
                  <c:v>431.947504701749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0E-45C2-88F2-671B5C2DC7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563766192"/>
        <c:axId val="-1563752592"/>
      </c:lineChart>
      <c:catAx>
        <c:axId val="-1563766192"/>
        <c:scaling>
          <c:orientation val="minMax"/>
        </c:scaling>
        <c:delete val="1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b="1" dirty="0">
                    <a:solidFill>
                      <a:schemeClr val="tx1"/>
                    </a:solidFill>
                  </a:rPr>
                  <a:t>Emotion</a:t>
                </a:r>
              </a:p>
            </c:rich>
          </c:tx>
          <c:layout>
            <c:manualLayout>
              <c:xMode val="edge"/>
              <c:yMode val="edge"/>
              <c:x val="0.46667695476081555"/>
              <c:y val="0.8998276568765865"/>
            </c:manualLayout>
          </c:layout>
          <c:overlay val="0"/>
        </c:title>
        <c:numFmt formatCode="0" sourceLinked="0"/>
        <c:majorTickMark val="in"/>
        <c:minorTickMark val="none"/>
        <c:tickLblPos val="low"/>
        <c:crossAx val="-1563752592"/>
        <c:crosses val="autoZero"/>
        <c:auto val="1"/>
        <c:lblAlgn val="ctr"/>
        <c:lblOffset val="100"/>
        <c:tickMarkSkip val="5"/>
        <c:noMultiLvlLbl val="0"/>
      </c:catAx>
      <c:valAx>
        <c:axId val="-1563752592"/>
        <c:scaling>
          <c:orientation val="minMax"/>
        </c:scaling>
        <c:delete val="1"/>
        <c:axPos val="l"/>
        <c:majorGridlines/>
        <c:title>
          <c:tx>
            <c:rich>
              <a:bodyPr rot="-5400000" vert="horz"/>
              <a:lstStyle/>
              <a:p>
                <a:pPr>
                  <a:defRPr b="0">
                    <a:solidFill>
                      <a:schemeClr val="tx1"/>
                    </a:solidFill>
                  </a:defRPr>
                </a:pPr>
                <a:r>
                  <a:rPr lang="en-US" b="1" dirty="0">
                    <a:solidFill>
                      <a:schemeClr val="tx1"/>
                    </a:solidFill>
                  </a:rPr>
                  <a:t>Attention</a:t>
                </a:r>
              </a:p>
            </c:rich>
          </c:tx>
          <c:layout>
            <c:manualLayout>
              <c:xMode val="edge"/>
              <c:yMode val="edge"/>
              <c:x val="5.9901071316592204E-2"/>
              <c:y val="0.26534647012730322"/>
            </c:manualLayout>
          </c:layout>
          <c:overlay val="0"/>
        </c:title>
        <c:numFmt formatCode="#,##0" sourceLinked="0"/>
        <c:majorTickMark val="out"/>
        <c:minorTickMark val="none"/>
        <c:tickLblPos val="low"/>
        <c:crossAx val="-1563766192"/>
        <c:crosses val="autoZero"/>
        <c:crossBetween val="midCat"/>
      </c:valAx>
      <c:spPr>
        <a:solidFill>
          <a:schemeClr val="bg1"/>
        </a:solidFill>
      </c:spPr>
    </c:plotArea>
    <c:plotVisOnly val="1"/>
    <c:dispBlanksAs val="gap"/>
    <c:showDLblsOverMax val="0"/>
  </c:chart>
  <c:spPr>
    <a:noFill/>
  </c:spPr>
  <c:txPr>
    <a:bodyPr/>
    <a:lstStyle/>
    <a:p>
      <a:pPr>
        <a:defRPr>
          <a:solidFill>
            <a:srgbClr val="1F497D"/>
          </a:solidFill>
        </a:defRPr>
      </a:pPr>
      <a:endParaRPr lang="en-US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26</cdr:x>
      <cdr:y>0.05907</cdr:y>
    </cdr:from>
    <cdr:to>
      <cdr:x>0.14037</cdr:x>
      <cdr:y>0.1844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4A52076-7B87-0DF3-D1B5-956042554079}"/>
            </a:ext>
          </a:extLst>
        </cdr:cNvPr>
        <cdr:cNvSpPr txBox="1"/>
      </cdr:nvSpPr>
      <cdr:spPr>
        <a:xfrm xmlns:a="http://schemas.openxmlformats.org/drawingml/2006/main">
          <a:off x="90352" y="123215"/>
          <a:ext cx="470865" cy="26150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de-DE" sz="1000" noProof="0" dirty="0"/>
            <a:t>high</a:t>
          </a:r>
        </a:p>
      </cdr:txBody>
    </cdr:sp>
  </cdr:relSizeAnchor>
  <cdr:relSizeAnchor xmlns:cdr="http://schemas.openxmlformats.org/drawingml/2006/chartDrawing">
    <cdr:from>
      <cdr:x>0.03883</cdr:x>
      <cdr:y>0.69509</cdr:y>
    </cdr:from>
    <cdr:to>
      <cdr:x>0.14386</cdr:x>
      <cdr:y>0.82046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701F15F4-F3BF-1974-5340-16C4048D1878}"/>
            </a:ext>
          </a:extLst>
        </cdr:cNvPr>
        <cdr:cNvSpPr txBox="1"/>
      </cdr:nvSpPr>
      <cdr:spPr>
        <a:xfrm xmlns:a="http://schemas.openxmlformats.org/drawingml/2006/main">
          <a:off x="155254" y="1449932"/>
          <a:ext cx="419906" cy="2615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de-DE" sz="1000" noProof="0" dirty="0"/>
            <a:t>low</a:t>
          </a:r>
        </a:p>
      </cdr:txBody>
    </cdr:sp>
  </cdr:relSizeAnchor>
  <cdr:relSizeAnchor xmlns:cdr="http://schemas.openxmlformats.org/drawingml/2006/chartDrawing">
    <cdr:from>
      <cdr:x>0.11749</cdr:x>
      <cdr:y>0.7731</cdr:y>
    </cdr:from>
    <cdr:to>
      <cdr:x>0.30579</cdr:x>
      <cdr:y>0.8984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BD8E8CD7-35F5-B2C3-497A-3DB141088521}"/>
            </a:ext>
          </a:extLst>
        </cdr:cNvPr>
        <cdr:cNvSpPr txBox="1"/>
      </cdr:nvSpPr>
      <cdr:spPr>
        <a:xfrm xmlns:a="http://schemas.openxmlformats.org/drawingml/2006/main">
          <a:off x="469758" y="1612648"/>
          <a:ext cx="752842" cy="26150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de-DE" sz="1000" noProof="0" dirty="0"/>
            <a:t>negative</a:t>
          </a:r>
        </a:p>
      </cdr:txBody>
    </cdr:sp>
  </cdr:relSizeAnchor>
  <cdr:relSizeAnchor xmlns:cdr="http://schemas.openxmlformats.org/drawingml/2006/chartDrawing">
    <cdr:from>
      <cdr:x>0.46783</cdr:x>
      <cdr:y>0.78904</cdr:y>
    </cdr:from>
    <cdr:to>
      <cdr:x>0.62851</cdr:x>
      <cdr:y>0.9144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47FF03BF-3A34-99BF-3C10-6E4B78C8460F}"/>
            </a:ext>
          </a:extLst>
        </cdr:cNvPr>
        <cdr:cNvSpPr txBox="1"/>
      </cdr:nvSpPr>
      <cdr:spPr>
        <a:xfrm xmlns:a="http://schemas.openxmlformats.org/drawingml/2006/main">
          <a:off x="1870437" y="1645895"/>
          <a:ext cx="642430" cy="2615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de-DE" sz="1000" noProof="0" dirty="0"/>
            <a:t>neutral</a:t>
          </a:r>
        </a:p>
      </cdr:txBody>
    </cdr:sp>
  </cdr:relSizeAnchor>
  <cdr:relSizeAnchor xmlns:cdr="http://schemas.openxmlformats.org/drawingml/2006/chartDrawing">
    <cdr:from>
      <cdr:x>0.80848</cdr:x>
      <cdr:y>0.78356</cdr:y>
    </cdr:from>
    <cdr:to>
      <cdr:x>0.98403</cdr:x>
      <cdr:y>0.90893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595F9386-4B81-E7C3-9917-76EDBE0F73C1}"/>
            </a:ext>
          </a:extLst>
        </cdr:cNvPr>
        <cdr:cNvSpPr txBox="1"/>
      </cdr:nvSpPr>
      <cdr:spPr>
        <a:xfrm xmlns:a="http://schemas.openxmlformats.org/drawingml/2006/main">
          <a:off x="3232427" y="1634474"/>
          <a:ext cx="701882" cy="2615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de-DE" sz="1000" noProof="0" dirty="0"/>
            <a:t>positiv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136E8F2-C604-4E4A-AB1C-B76B229E84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C7FC2C-DA25-47E0-8814-8CEF57885B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F0891E-BDE0-4475-9679-04058D38181C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471532-9A45-4527-BDAC-699DC0C713A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702BEE-7CE0-4B48-A063-0718CA4D93C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5B4DBD-CCAB-43BF-B178-E59DA50F6F8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08954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8D7300-4E24-4FC9-B313-800AC95E2855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0F1C56-C5C6-41DA-BF4F-79686AC5163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4869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69113E-D261-4926-95FC-E6FB7FD8AB9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056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F1C56-C5C6-41DA-BF4F-79686AC5163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6255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F1C56-C5C6-41DA-BF4F-79686AC5163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5578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561BB5-9760-49F1-A151-D9316A47166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47899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F1C56-C5C6-41DA-BF4F-79686AC5163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81835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F1C56-C5C6-41DA-BF4F-79686AC5163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6230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F1C56-C5C6-41DA-BF4F-79686AC51631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9743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00050" indent="-400050">
              <a:lnSpc>
                <a:spcPct val="150000"/>
              </a:lnSpc>
              <a:buFont typeface="+mj-lt"/>
              <a:buAutoNum type="romanUcPeriod"/>
            </a:pPr>
            <a:r>
              <a:rPr lang="en-US" sz="1100" b="1" dirty="0"/>
              <a:t>Avoid cluttered sponsorship environments</a:t>
            </a: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de-DE" sz="11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No revenue without advertising value - no advertising value without processing - no processing without visual attention</a:t>
            </a:r>
          </a:p>
          <a:p>
            <a:pPr marL="434975" lvl="3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de-DE" sz="900" dirty="0">
                <a:sym typeface="Wingdings" panose="05000000000000000000" pitchFamily="2" charset="2"/>
              </a:rPr>
              <a:t>To sponsors, signage that fails to attract viewer attention is virtually worthless!</a:t>
            </a:r>
            <a:endParaRPr lang="en-US" sz="900" dirty="0"/>
          </a:p>
          <a:p>
            <a:pPr marL="400050" indent="-400050">
              <a:lnSpc>
                <a:spcPct val="150000"/>
              </a:lnSpc>
              <a:buFont typeface="+mj-lt"/>
              <a:buAutoNum type="romanUcPeriod"/>
            </a:pPr>
            <a:r>
              <a:rPr lang="en-US" sz="1100" b="1" dirty="0"/>
              <a:t>Exploit opportunities arising from technological advances</a:t>
            </a: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de-DE" sz="11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Clubs and leagues can increase the quality of partners‘ exposure and make the pricing of their assets more efficient</a:t>
            </a:r>
          </a:p>
          <a:p>
            <a:pPr marL="434975" lvl="3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900" dirty="0"/>
              <a:t>(ABC)</a:t>
            </a:r>
          </a:p>
          <a:p>
            <a:pPr marL="400050" indent="-400050">
              <a:lnSpc>
                <a:spcPct val="150000"/>
              </a:lnSpc>
              <a:buFont typeface="+mj-lt"/>
              <a:buAutoNum type="romanUcPeriod"/>
            </a:pPr>
            <a:r>
              <a:rPr lang="en-US" sz="1100" b="1" dirty="0"/>
              <a:t>Be deliberate in your partner selection</a:t>
            </a: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11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Be careful with the company you keep</a:t>
            </a:r>
          </a:p>
          <a:p>
            <a:pPr marL="434975" lvl="3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9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Both the club and its partners can benefit from a carefully assembled network of partners</a:t>
            </a:r>
            <a:endParaRPr lang="en-US" sz="900" dirty="0"/>
          </a:p>
          <a:p>
            <a:pPr marL="400050" indent="-400050">
              <a:lnSpc>
                <a:spcPct val="150000"/>
              </a:lnSpc>
              <a:buFont typeface="+mj-lt"/>
              <a:buAutoNum type="romanUcPeriod"/>
            </a:pPr>
            <a:r>
              <a:rPr lang="en-US" sz="1100" b="1" dirty="0"/>
              <a:t>Protect your club brand identity</a:t>
            </a:r>
            <a:endParaRPr lang="en-US" sz="1100" kern="1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11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Look at North America: franchises focused on brand-building - dominance of club brands</a:t>
            </a:r>
          </a:p>
          <a:p>
            <a:pPr marL="434975" lvl="3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9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C</a:t>
            </a:r>
            <a:r>
              <a:rPr lang="en-US" sz="900" dirty="0"/>
              <a:t>ommercialization mostly via TV and matchday revenue, jersey and helmet branding introduced only recently</a:t>
            </a: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11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European clubs with unique positioning? (e.g., Belfast Giants, HC Davos, </a:t>
            </a:r>
            <a:r>
              <a:rPr lang="en-US" sz="1100" kern="1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mbri-Piotta</a:t>
            </a:r>
            <a:r>
              <a:rPr lang="en-US" sz="11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)</a:t>
            </a:r>
          </a:p>
          <a:p>
            <a:pPr marL="434975" lvl="3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lang="en-US" sz="900" dirty="0"/>
              <a:t>Those clubs have identities that can help them attract partners because they have a unique and distinct story to tell and attributes to share</a:t>
            </a: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F1C56-C5C6-41DA-BF4F-79686AC51631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699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7792F72-1C7F-4575-AA0D-F0433776B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7" y="2464848"/>
            <a:ext cx="5944553" cy="4708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4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983575"/>
            <a:ext cx="5944553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1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7895" y="845960"/>
            <a:ext cx="2235299" cy="3803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9EB9241-FDA5-4BBF-B50E-3B7A78A81805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rgbClr val="00204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4027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CC3BA2F-42FB-476E-9156-49232DB591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918513"/>
            <a:ext cx="3024583" cy="87716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oogle Shape;117;p20">
            <a:extLst>
              <a:ext uri="{FF2B5EF4-FFF2-40B4-BE49-F238E27FC236}">
                <a16:creationId xmlns:a16="http://schemas.microsoft.com/office/drawing/2014/main" id="{605FA8F9-7D4C-40A3-9559-D5418974090F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71745E4-EB9F-4D2F-86E0-EE632E18F687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5006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Aqua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E8283AB5-9B16-40EA-951B-E630FF534D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8DCFA9B0-DD6B-4F31-BA14-9CF3A0008C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5A3B6B0-8363-4491-A048-A056BF78F398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76429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Aqua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2E29E5F4-30E2-4573-BE9C-3E95A943ED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5A3B6B0-8363-4491-A048-A056BF78F398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2797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qu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Background pattern&#10;&#10;Description automatically generated">
            <a:extLst>
              <a:ext uri="{FF2B5EF4-FFF2-40B4-BE49-F238E27FC236}">
                <a16:creationId xmlns:a16="http://schemas.microsoft.com/office/drawing/2014/main" id="{F91AD995-F2FC-4887-99CC-93E07F1ABF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2A448C1-2B42-47F5-A8AD-B5994AC029B2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83580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996871B-0E19-42EE-B1B1-907A92B302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8"/>
            <a:ext cx="9144000" cy="51414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918513"/>
            <a:ext cx="3024583" cy="87716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oogle Shape;117;p20">
            <a:extLst>
              <a:ext uri="{FF2B5EF4-FFF2-40B4-BE49-F238E27FC236}">
                <a16:creationId xmlns:a16="http://schemas.microsoft.com/office/drawing/2014/main" id="{4BCAF554-8853-45C0-A375-C1220BBF7B3B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1584CA3-E53E-46E5-B5E4-89CF201FE164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45501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CD5C64D-7ED9-4634-8546-ACFF5A2CA9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918513"/>
            <a:ext cx="3024583" cy="87716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3B5CDBE4-64E9-4C57-9B75-64F9BAEA8851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5D7D1A9-1C4E-46D1-9BB2-E9B73E2CD61E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5708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B6D616-CCEA-4A1B-A933-7737CC47DC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2137803"/>
            <a:ext cx="5942691" cy="438582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Google Shape;117;p20">
            <a:extLst>
              <a:ext uri="{FF2B5EF4-FFF2-40B4-BE49-F238E27FC236}">
                <a16:creationId xmlns:a16="http://schemas.microsoft.com/office/drawing/2014/main" id="{1268BE0C-6631-4BB2-BEFD-2F849AE2A9E6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335D6FE-82D7-49C6-8009-4432FE84F921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8298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divider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1C58D8-F436-4276-8A2E-8843EF8C8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2137803"/>
            <a:ext cx="5942691" cy="438582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oogle Shape;117;p20">
            <a:extLst>
              <a:ext uri="{FF2B5EF4-FFF2-40B4-BE49-F238E27FC236}">
                <a16:creationId xmlns:a16="http://schemas.microsoft.com/office/drawing/2014/main" id="{F6CA3930-84BB-4B49-BF43-9D73DE05511F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4020B4E-FCB3-4534-800C-E35CE41E731B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5707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7F9931C-E690-488E-856F-AFC85C140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2137803"/>
            <a:ext cx="5942691" cy="438582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Google Shape;117;p20">
            <a:extLst>
              <a:ext uri="{FF2B5EF4-FFF2-40B4-BE49-F238E27FC236}">
                <a16:creationId xmlns:a16="http://schemas.microsoft.com/office/drawing/2014/main" id="{D5F97FE6-D2C0-43A9-9D52-BFA8AE8AE5C4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16E6B4-9581-4AD2-BBD8-2775AC99CF2F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8304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F0D252-39A7-4EA2-ACB3-84607ACC62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2137803"/>
            <a:ext cx="5942691" cy="438582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oogle Shape;117;p20">
            <a:extLst>
              <a:ext uri="{FF2B5EF4-FFF2-40B4-BE49-F238E27FC236}">
                <a16:creationId xmlns:a16="http://schemas.microsoft.com/office/drawing/2014/main" id="{0B918C7C-AE1C-499C-97A7-82B4C3CA692E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9A179E9-8F10-4330-9902-12C70DF06F4A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45385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">
            <a:extLst>
              <a:ext uri="{FF2B5EF4-FFF2-40B4-BE49-F238E27FC236}">
                <a16:creationId xmlns:a16="http://schemas.microsoft.com/office/drawing/2014/main" id="{E89DD25B-8067-40C9-B993-A7C2BA4EB6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8" y="2464848"/>
            <a:ext cx="5062084" cy="4708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4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8" y="2983575"/>
            <a:ext cx="5062084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1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7895" y="845960"/>
            <a:ext cx="2235299" cy="3803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6BEF9C0-A02E-44C2-82C7-5F5972103F80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rgbClr val="00204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97559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B9943A-8FFE-4C60-9517-AF2D14F6B3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0A9F14-F295-4A6F-B1B5-0B7814DD13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03D159-9CB3-4865-85D6-572AD81B1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122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DD2E5-356C-4F50-B8EA-C4B82A729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45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306315F-66DD-4F37-8805-681473BF0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CAD678-1DFA-4BCC-A403-293E073C4F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5" y="1275606"/>
            <a:ext cx="8351838" cy="33487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955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0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CAD678-1DFA-4BCC-A403-293E073C4F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5" y="1276350"/>
            <a:ext cx="8351838" cy="3348038"/>
          </a:xfrm>
        </p:spPr>
        <p:txBody>
          <a:bodyPr numCol="2" spcCol="28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715A50-F05E-4826-A8AE-EF911C4EB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1669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 userDrawn="1">
          <p15:clr>
            <a:srgbClr val="9FCC3B"/>
          </p15:clr>
        </p15:guide>
        <p15:guide id="3" pos="2971" userDrawn="1">
          <p15:clr>
            <a:srgbClr val="9FCC3B"/>
          </p15:clr>
        </p15:guide>
        <p15:guide id="4" pos="2789" userDrawn="1">
          <p15:clr>
            <a:srgbClr val="9FCC3B"/>
          </p15:clr>
        </p15:guide>
        <p15:guide id="5" orient="horz" pos="80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10872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131C7C-27C2-408E-8837-10CAECA69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334800"/>
            <a:ext cx="8351045" cy="70173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1439865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0A9F14-F295-4A6F-B1B5-0B7814DD13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03D159-9CB3-4865-85D6-572AD81B1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Google Shape;117;p20">
            <a:extLst>
              <a:ext uri="{FF2B5EF4-FFF2-40B4-BE49-F238E27FC236}">
                <a16:creationId xmlns:a16="http://schemas.microsoft.com/office/drawing/2014/main" id="{39A77B58-DEEF-4D66-84C3-22E28B68610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0117F85-F54A-4923-909C-1F8C547ABA06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40517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Subtitle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CDD2E5-356C-4F50-B8EA-C4B82A7293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C7838568-A6A0-4C56-B344-13EBB6CF141D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20686EF-1992-4F8C-845C-461E924C3575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4360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Subtitle/Text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306315F-66DD-4F37-8805-681473BF0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CAD678-1DFA-4BCC-A403-293E073C4F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5" y="1275606"/>
            <a:ext cx="8351838" cy="33487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A290E478-EA9E-45F1-B6F2-BDD1CF601B17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8DE4929-FEBF-4498-9F1A-80B266E6142A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25408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/Subtitle/Text 2 Columns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CAD678-1DFA-4BCC-A403-293E073C4F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5" y="1276350"/>
            <a:ext cx="8351838" cy="3348038"/>
          </a:xfrm>
        </p:spPr>
        <p:txBody>
          <a:bodyPr numCol="2" spcCol="28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715A50-F05E-4826-A8AE-EF911C4EB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C395257A-D930-433E-9D33-C7D7B70EBE9A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8E14FB3-A007-4D52-87D0-86E8F9617637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43934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3" pos="2971">
          <p15:clr>
            <a:srgbClr val="9FCC3B"/>
          </p15:clr>
        </p15:guide>
        <p15:guide id="4" pos="2789">
          <p15:clr>
            <a:srgbClr val="9FCC3B"/>
          </p15:clr>
        </p15:guide>
        <p15:guide id="5" orient="horz" pos="80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/ Subtitle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10872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BDA1CB3D-89FF-43E0-BC5F-7D1E0B869CB8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C9FA148-C7AE-4BD2-85D9-02C18CDD117B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CA90154-D2D7-45A9-BE1C-CE985937C5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000" y="334800"/>
            <a:ext cx="8351045" cy="7017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1691217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0DA26819-BA4C-18A8-73FB-6528FDC858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8" y="2464848"/>
            <a:ext cx="4838700" cy="4708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4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983575"/>
            <a:ext cx="4838701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14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3490913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7895" y="845960"/>
            <a:ext cx="2235299" cy="380375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1008912-6F92-4F09-A437-A3B71F07F4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43918" y="0"/>
            <a:ext cx="3700083" cy="4337050"/>
          </a:xfrm>
          <a:custGeom>
            <a:avLst/>
            <a:gdLst>
              <a:gd name="connsiteX0" fmla="*/ 2279749 w 3690951"/>
              <a:gd name="connsiteY0" fmla="*/ 0 h 4326346"/>
              <a:gd name="connsiteX1" fmla="*/ 3690951 w 3690951"/>
              <a:gd name="connsiteY1" fmla="*/ 0 h 4326346"/>
              <a:gd name="connsiteX2" fmla="*/ 3690951 w 3690951"/>
              <a:gd name="connsiteY2" fmla="*/ 4326346 h 4326346"/>
              <a:gd name="connsiteX3" fmla="*/ 2690446 w 3690951"/>
              <a:gd name="connsiteY3" fmla="*/ 4326346 h 4326346"/>
              <a:gd name="connsiteX4" fmla="*/ 300194 w 3690951"/>
              <a:gd name="connsiteY4" fmla="*/ 4326346 h 4326346"/>
              <a:gd name="connsiteX5" fmla="*/ 279213 w 3690951"/>
              <a:gd name="connsiteY5" fmla="*/ 4325399 h 4326346"/>
              <a:gd name="connsiteX6" fmla="*/ 258769 w 3690951"/>
              <a:gd name="connsiteY6" fmla="*/ 4323504 h 4326346"/>
              <a:gd name="connsiteX7" fmla="*/ 238326 w 3690951"/>
              <a:gd name="connsiteY7" fmla="*/ 4319715 h 4326346"/>
              <a:gd name="connsiteX8" fmla="*/ 218421 w 3690951"/>
              <a:gd name="connsiteY8" fmla="*/ 4315452 h 4326346"/>
              <a:gd name="connsiteX9" fmla="*/ 199591 w 3690951"/>
              <a:gd name="connsiteY9" fmla="*/ 4308821 h 4326346"/>
              <a:gd name="connsiteX10" fmla="*/ 181300 w 3690951"/>
              <a:gd name="connsiteY10" fmla="*/ 4301716 h 4326346"/>
              <a:gd name="connsiteX11" fmla="*/ 163547 w 3690951"/>
              <a:gd name="connsiteY11" fmla="*/ 4293664 h 4326346"/>
              <a:gd name="connsiteX12" fmla="*/ 146332 w 3690951"/>
              <a:gd name="connsiteY12" fmla="*/ 4283717 h 4326346"/>
              <a:gd name="connsiteX13" fmla="*/ 130192 w 3690951"/>
              <a:gd name="connsiteY13" fmla="*/ 4273770 h 4326346"/>
              <a:gd name="connsiteX14" fmla="*/ 114590 w 3690951"/>
              <a:gd name="connsiteY14" fmla="*/ 4261929 h 4326346"/>
              <a:gd name="connsiteX15" fmla="*/ 100065 w 3690951"/>
              <a:gd name="connsiteY15" fmla="*/ 4250561 h 4326346"/>
              <a:gd name="connsiteX16" fmla="*/ 86077 w 3690951"/>
              <a:gd name="connsiteY16" fmla="*/ 4237299 h 4326346"/>
              <a:gd name="connsiteX17" fmla="*/ 73166 w 3690951"/>
              <a:gd name="connsiteY17" fmla="*/ 4222615 h 4326346"/>
              <a:gd name="connsiteX18" fmla="*/ 61330 w 3690951"/>
              <a:gd name="connsiteY18" fmla="*/ 4206985 h 4326346"/>
              <a:gd name="connsiteX19" fmla="*/ 50572 w 3690951"/>
              <a:gd name="connsiteY19" fmla="*/ 4191827 h 4326346"/>
              <a:gd name="connsiteX20" fmla="*/ 40349 w 3690951"/>
              <a:gd name="connsiteY20" fmla="*/ 4175723 h 4326346"/>
              <a:gd name="connsiteX21" fmla="*/ 31203 w 3690951"/>
              <a:gd name="connsiteY21" fmla="*/ 4159619 h 4326346"/>
              <a:gd name="connsiteX22" fmla="*/ 24209 w 3690951"/>
              <a:gd name="connsiteY22" fmla="*/ 4142093 h 4326346"/>
              <a:gd name="connsiteX23" fmla="*/ 17754 w 3690951"/>
              <a:gd name="connsiteY23" fmla="*/ 4124568 h 4326346"/>
              <a:gd name="connsiteX24" fmla="*/ 10760 w 3690951"/>
              <a:gd name="connsiteY24" fmla="*/ 4106095 h 4326346"/>
              <a:gd name="connsiteX25" fmla="*/ 6456 w 3690951"/>
              <a:gd name="connsiteY25" fmla="*/ 4087149 h 4326346"/>
              <a:gd name="connsiteX26" fmla="*/ 2690 w 3690951"/>
              <a:gd name="connsiteY26" fmla="*/ 4069150 h 4326346"/>
              <a:gd name="connsiteX27" fmla="*/ 538 w 3690951"/>
              <a:gd name="connsiteY27" fmla="*/ 4050204 h 4326346"/>
              <a:gd name="connsiteX28" fmla="*/ 0 w 3690951"/>
              <a:gd name="connsiteY28" fmla="*/ 4031258 h 4326346"/>
              <a:gd name="connsiteX29" fmla="*/ 0 w 3690951"/>
              <a:gd name="connsiteY29" fmla="*/ 4011364 h 4326346"/>
              <a:gd name="connsiteX30" fmla="*/ 2152 w 3690951"/>
              <a:gd name="connsiteY30" fmla="*/ 3992418 h 4326346"/>
              <a:gd name="connsiteX31" fmla="*/ 4304 w 3690951"/>
              <a:gd name="connsiteY31" fmla="*/ 3972524 h 4326346"/>
              <a:gd name="connsiteX32" fmla="*/ 8608 w 3690951"/>
              <a:gd name="connsiteY32" fmla="*/ 3953578 h 4326346"/>
              <a:gd name="connsiteX33" fmla="*/ 15602 w 3690951"/>
              <a:gd name="connsiteY33" fmla="*/ 3933684 h 4326346"/>
              <a:gd name="connsiteX34" fmla="*/ 22057 w 3690951"/>
              <a:gd name="connsiteY34" fmla="*/ 3914264 h 4326346"/>
              <a:gd name="connsiteX35" fmla="*/ 30665 w 3690951"/>
              <a:gd name="connsiteY35" fmla="*/ 3895791 h 4326346"/>
              <a:gd name="connsiteX36" fmla="*/ 40349 w 3690951"/>
              <a:gd name="connsiteY36" fmla="*/ 3875898 h 4326346"/>
              <a:gd name="connsiteX37" fmla="*/ 1235206 w 3690951"/>
              <a:gd name="connsiteY37" fmla="*/ 1807434 h 4326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690951" h="4326346">
                <a:moveTo>
                  <a:pt x="2279749" y="0"/>
                </a:moveTo>
                <a:lnTo>
                  <a:pt x="3690951" y="0"/>
                </a:lnTo>
                <a:lnTo>
                  <a:pt x="3690951" y="4326346"/>
                </a:lnTo>
                <a:lnTo>
                  <a:pt x="2690446" y="4326346"/>
                </a:lnTo>
                <a:lnTo>
                  <a:pt x="300194" y="4326346"/>
                </a:lnTo>
                <a:cubicBezTo>
                  <a:pt x="293200" y="4325873"/>
                  <a:pt x="286206" y="4325873"/>
                  <a:pt x="279213" y="4325399"/>
                </a:cubicBezTo>
                <a:cubicBezTo>
                  <a:pt x="272219" y="4324925"/>
                  <a:pt x="265763" y="4323978"/>
                  <a:pt x="258769" y="4323504"/>
                </a:cubicBezTo>
                <a:cubicBezTo>
                  <a:pt x="251776" y="4322083"/>
                  <a:pt x="245320" y="4321136"/>
                  <a:pt x="238326" y="4319715"/>
                </a:cubicBezTo>
                <a:lnTo>
                  <a:pt x="218421" y="4315452"/>
                </a:lnTo>
                <a:cubicBezTo>
                  <a:pt x="211965" y="4313084"/>
                  <a:pt x="206047" y="4311189"/>
                  <a:pt x="199591" y="4308821"/>
                </a:cubicBezTo>
                <a:cubicBezTo>
                  <a:pt x="193674" y="4306453"/>
                  <a:pt x="187218" y="4304084"/>
                  <a:pt x="181300" y="4301716"/>
                </a:cubicBezTo>
                <a:cubicBezTo>
                  <a:pt x="175382" y="4298874"/>
                  <a:pt x="169464" y="4296506"/>
                  <a:pt x="163547" y="4293664"/>
                </a:cubicBezTo>
                <a:cubicBezTo>
                  <a:pt x="157629" y="4290348"/>
                  <a:pt x="152249" y="4287033"/>
                  <a:pt x="146332" y="4283717"/>
                </a:cubicBezTo>
                <a:lnTo>
                  <a:pt x="130192" y="4273770"/>
                </a:lnTo>
                <a:cubicBezTo>
                  <a:pt x="124812" y="4269981"/>
                  <a:pt x="119971" y="4265718"/>
                  <a:pt x="114590" y="4261929"/>
                </a:cubicBezTo>
                <a:lnTo>
                  <a:pt x="100065" y="4250561"/>
                </a:lnTo>
                <a:cubicBezTo>
                  <a:pt x="95223" y="4246298"/>
                  <a:pt x="90919" y="4241562"/>
                  <a:pt x="86077" y="4237299"/>
                </a:cubicBezTo>
                <a:cubicBezTo>
                  <a:pt x="81773" y="4232562"/>
                  <a:pt x="77470" y="4227352"/>
                  <a:pt x="73166" y="4222615"/>
                </a:cubicBezTo>
                <a:cubicBezTo>
                  <a:pt x="69400" y="4217405"/>
                  <a:pt x="65096" y="4212195"/>
                  <a:pt x="61330" y="4206985"/>
                </a:cubicBezTo>
                <a:cubicBezTo>
                  <a:pt x="57564" y="4201774"/>
                  <a:pt x="54336" y="4197038"/>
                  <a:pt x="50572" y="4191827"/>
                </a:cubicBezTo>
                <a:cubicBezTo>
                  <a:pt x="47343" y="4186617"/>
                  <a:pt x="43578" y="4180933"/>
                  <a:pt x="40349" y="4175723"/>
                </a:cubicBezTo>
                <a:cubicBezTo>
                  <a:pt x="37121" y="4170513"/>
                  <a:pt x="34432" y="4164829"/>
                  <a:pt x="31203" y="4159619"/>
                </a:cubicBezTo>
                <a:cubicBezTo>
                  <a:pt x="29051" y="4153935"/>
                  <a:pt x="26361" y="4147777"/>
                  <a:pt x="24209" y="4142093"/>
                </a:cubicBezTo>
                <a:cubicBezTo>
                  <a:pt x="22057" y="4136410"/>
                  <a:pt x="19906" y="4130252"/>
                  <a:pt x="17754" y="4124568"/>
                </a:cubicBezTo>
                <a:cubicBezTo>
                  <a:pt x="15602" y="4118411"/>
                  <a:pt x="12912" y="4112253"/>
                  <a:pt x="10760" y="4106095"/>
                </a:cubicBezTo>
                <a:cubicBezTo>
                  <a:pt x="9146" y="4099938"/>
                  <a:pt x="8071" y="4093307"/>
                  <a:pt x="6456" y="4087149"/>
                </a:cubicBezTo>
                <a:cubicBezTo>
                  <a:pt x="5380" y="4080992"/>
                  <a:pt x="3766" y="4075308"/>
                  <a:pt x="2690" y="4069150"/>
                </a:cubicBezTo>
                <a:cubicBezTo>
                  <a:pt x="2152" y="4062993"/>
                  <a:pt x="1077" y="4056361"/>
                  <a:pt x="538" y="4050204"/>
                </a:cubicBezTo>
                <a:cubicBezTo>
                  <a:pt x="538" y="4044046"/>
                  <a:pt x="0" y="4037415"/>
                  <a:pt x="0" y="4031258"/>
                </a:cubicBezTo>
                <a:lnTo>
                  <a:pt x="0" y="4011364"/>
                </a:lnTo>
                <a:cubicBezTo>
                  <a:pt x="538" y="4005206"/>
                  <a:pt x="1614" y="3998575"/>
                  <a:pt x="2152" y="3992418"/>
                </a:cubicBezTo>
                <a:cubicBezTo>
                  <a:pt x="2690" y="3985786"/>
                  <a:pt x="3766" y="3979155"/>
                  <a:pt x="4304" y="3972524"/>
                </a:cubicBezTo>
                <a:cubicBezTo>
                  <a:pt x="5918" y="3966366"/>
                  <a:pt x="6994" y="3959735"/>
                  <a:pt x="8608" y="3953578"/>
                </a:cubicBezTo>
                <a:cubicBezTo>
                  <a:pt x="10760" y="3946946"/>
                  <a:pt x="13450" y="3940315"/>
                  <a:pt x="15602" y="3933684"/>
                </a:cubicBezTo>
                <a:cubicBezTo>
                  <a:pt x="17754" y="3927053"/>
                  <a:pt x="19906" y="3920895"/>
                  <a:pt x="22057" y="3914264"/>
                </a:cubicBezTo>
                <a:cubicBezTo>
                  <a:pt x="24747" y="3908107"/>
                  <a:pt x="27975" y="3901949"/>
                  <a:pt x="30665" y="3895791"/>
                </a:cubicBezTo>
                <a:lnTo>
                  <a:pt x="40349" y="3875898"/>
                </a:lnTo>
                <a:lnTo>
                  <a:pt x="1235206" y="1807434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7123B9-0C4A-4E2D-8C47-26AAB67D9A24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rgbClr val="00204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49489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7;p14">
            <a:extLst>
              <a:ext uri="{FF2B5EF4-FFF2-40B4-BE49-F238E27FC236}">
                <a16:creationId xmlns:a16="http://schemas.microsoft.com/office/drawing/2014/main" id="{9632CD61-669F-47D6-9CD7-F03D9A94E2CA}"/>
              </a:ext>
            </a:extLst>
          </p:cNvPr>
          <p:cNvSpPr/>
          <p:nvPr userDrawn="1"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7669" y="2408936"/>
            <a:ext cx="320222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306315F-66DD-4F37-8805-681473BF0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9" y="1590356"/>
            <a:ext cx="3202224" cy="760208"/>
          </a:xfrm>
        </p:spPr>
        <p:txBody>
          <a:bodyPr anchor="b"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3AA6D0-7880-491C-B45A-08E31C69CD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67287" y="555400"/>
            <a:ext cx="3781426" cy="40689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977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 userDrawn="1">
          <p15:clr>
            <a:srgbClr val="9FCC3B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 userDrawn="1"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97F6DE-6CC4-49D2-BC3C-650CF4650C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931CFA-205A-471E-BDB8-E138FDD2DD2A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028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2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 userDrawn="1"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AB43451-361D-4071-B03E-F98BBDCA8E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276F47-E99E-4353-BD32-C8F25270C774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2412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26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 userDrawn="1"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6F218EB-E2D5-4CA0-A455-CE1C8EABB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A10B56-9E25-4096-A2E6-AEE0167F590A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79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2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 userDrawn="1"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D71DFDA-E8D3-40C5-91F9-4764A3E19B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D8182F-7930-4A7F-8553-DFF94F8C20FE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4514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2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 userDrawn="1"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FDAC04D-0C97-44E6-8A44-E9FB8E199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83F73D-1C47-40D9-A919-8FAB0FFD82D9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982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26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b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 userDrawn="1"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rgbClr val="2765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2FDAC04D-0C97-44E6-8A44-E9FB8E199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83F73D-1C47-40D9-A919-8FAB0FFD82D9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322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26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"/>
            <a:ext cx="9143999" cy="4624385"/>
          </a:xfrm>
          <a:prstGeom prst="rect">
            <a:avLst/>
          </a:prstGeo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1E033-4A80-44DE-B954-99AC46E15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58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A3DC4D17-D2EE-49B8-AD14-20B68470E8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76674" y="0"/>
            <a:ext cx="5267326" cy="4624388"/>
          </a:xfrm>
          <a:custGeom>
            <a:avLst/>
            <a:gdLst>
              <a:gd name="connsiteX0" fmla="*/ 2480742 w 5267326"/>
              <a:gd name="connsiteY0" fmla="*/ 0 h 4619625"/>
              <a:gd name="connsiteX1" fmla="*/ 5267326 w 5267326"/>
              <a:gd name="connsiteY1" fmla="*/ 0 h 4619625"/>
              <a:gd name="connsiteX2" fmla="*/ 5267326 w 5267326"/>
              <a:gd name="connsiteY2" fmla="*/ 4619625 h 4619625"/>
              <a:gd name="connsiteX3" fmla="*/ 251340 w 5267326"/>
              <a:gd name="connsiteY3" fmla="*/ 4619625 h 4619625"/>
              <a:gd name="connsiteX4" fmla="*/ 238996 w 5267326"/>
              <a:gd name="connsiteY4" fmla="*/ 4619251 h 4619625"/>
              <a:gd name="connsiteX5" fmla="*/ 221455 w 5267326"/>
              <a:gd name="connsiteY5" fmla="*/ 4617058 h 4619625"/>
              <a:gd name="connsiteX6" fmla="*/ 203914 w 5267326"/>
              <a:gd name="connsiteY6" fmla="*/ 4613770 h 4619625"/>
              <a:gd name="connsiteX7" fmla="*/ 186373 w 5267326"/>
              <a:gd name="connsiteY7" fmla="*/ 4609932 h 4619625"/>
              <a:gd name="connsiteX8" fmla="*/ 171025 w 5267326"/>
              <a:gd name="connsiteY8" fmla="*/ 4604999 h 4619625"/>
              <a:gd name="connsiteX9" fmla="*/ 154580 w 5267326"/>
              <a:gd name="connsiteY9" fmla="*/ 4598969 h 4619625"/>
              <a:gd name="connsiteX10" fmla="*/ 139232 w 5267326"/>
              <a:gd name="connsiteY10" fmla="*/ 4591843 h 4619625"/>
              <a:gd name="connsiteX11" fmla="*/ 124980 w 5267326"/>
              <a:gd name="connsiteY11" fmla="*/ 4583073 h 4619625"/>
              <a:gd name="connsiteX12" fmla="*/ 111276 w 5267326"/>
              <a:gd name="connsiteY12" fmla="*/ 4574851 h 4619625"/>
              <a:gd name="connsiteX13" fmla="*/ 98120 w 5267326"/>
              <a:gd name="connsiteY13" fmla="*/ 4564984 h 4619625"/>
              <a:gd name="connsiteX14" fmla="*/ 85513 w 5267326"/>
              <a:gd name="connsiteY14" fmla="*/ 4553472 h 4619625"/>
              <a:gd name="connsiteX15" fmla="*/ 74001 w 5267326"/>
              <a:gd name="connsiteY15" fmla="*/ 4542509 h 4619625"/>
              <a:gd name="connsiteX16" fmla="*/ 63038 w 5267326"/>
              <a:gd name="connsiteY16" fmla="*/ 4530998 h 4619625"/>
              <a:gd name="connsiteX17" fmla="*/ 52623 w 5267326"/>
              <a:gd name="connsiteY17" fmla="*/ 4518391 h 4619625"/>
              <a:gd name="connsiteX18" fmla="*/ 43304 w 5267326"/>
              <a:gd name="connsiteY18" fmla="*/ 4504687 h 4619625"/>
              <a:gd name="connsiteX19" fmla="*/ 34534 w 5267326"/>
              <a:gd name="connsiteY19" fmla="*/ 4490983 h 4619625"/>
              <a:gd name="connsiteX20" fmla="*/ 26860 w 5267326"/>
              <a:gd name="connsiteY20" fmla="*/ 4476731 h 4619625"/>
              <a:gd name="connsiteX21" fmla="*/ 20282 w 5267326"/>
              <a:gd name="connsiteY21" fmla="*/ 4461931 h 4619625"/>
              <a:gd name="connsiteX22" fmla="*/ 14252 w 5267326"/>
              <a:gd name="connsiteY22" fmla="*/ 4447130 h 4619625"/>
              <a:gd name="connsiteX23" fmla="*/ 9319 w 5267326"/>
              <a:gd name="connsiteY23" fmla="*/ 4431234 h 4619625"/>
              <a:gd name="connsiteX24" fmla="*/ 5482 w 5267326"/>
              <a:gd name="connsiteY24" fmla="*/ 4415886 h 4619625"/>
              <a:gd name="connsiteX25" fmla="*/ 2741 w 5267326"/>
              <a:gd name="connsiteY25" fmla="*/ 4399441 h 4619625"/>
              <a:gd name="connsiteX26" fmla="*/ 549 w 5267326"/>
              <a:gd name="connsiteY26" fmla="*/ 4382996 h 4619625"/>
              <a:gd name="connsiteX27" fmla="*/ 0 w 5267326"/>
              <a:gd name="connsiteY27" fmla="*/ 4366552 h 4619625"/>
              <a:gd name="connsiteX28" fmla="*/ 0 w 5267326"/>
              <a:gd name="connsiteY28" fmla="*/ 4350107 h 4619625"/>
              <a:gd name="connsiteX29" fmla="*/ 1097 w 5267326"/>
              <a:gd name="connsiteY29" fmla="*/ 4333114 h 4619625"/>
              <a:gd name="connsiteX30" fmla="*/ 3837 w 5267326"/>
              <a:gd name="connsiteY30" fmla="*/ 4316669 h 4619625"/>
              <a:gd name="connsiteX31" fmla="*/ 7674 w 5267326"/>
              <a:gd name="connsiteY31" fmla="*/ 4299677 h 4619625"/>
              <a:gd name="connsiteX32" fmla="*/ 12608 w 5267326"/>
              <a:gd name="connsiteY32" fmla="*/ 4283232 h 4619625"/>
              <a:gd name="connsiteX33" fmla="*/ 19186 w 5267326"/>
              <a:gd name="connsiteY33" fmla="*/ 4266239 h 4619625"/>
              <a:gd name="connsiteX34" fmla="*/ 26312 w 5267326"/>
              <a:gd name="connsiteY34" fmla="*/ 4249795 h 4619625"/>
              <a:gd name="connsiteX35" fmla="*/ 34534 w 5267326"/>
              <a:gd name="connsiteY35" fmla="*/ 4234446 h 4619625"/>
              <a:gd name="connsiteX36" fmla="*/ 1933892 w 5267326"/>
              <a:gd name="connsiteY36" fmla="*/ 946611 h 461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267326" h="4619625">
                <a:moveTo>
                  <a:pt x="2480742" y="0"/>
                </a:moveTo>
                <a:lnTo>
                  <a:pt x="5267326" y="0"/>
                </a:lnTo>
                <a:lnTo>
                  <a:pt x="5267326" y="4619625"/>
                </a:lnTo>
                <a:lnTo>
                  <a:pt x="251340" y="4619625"/>
                </a:lnTo>
                <a:lnTo>
                  <a:pt x="238996" y="4619251"/>
                </a:lnTo>
                <a:lnTo>
                  <a:pt x="221455" y="4617058"/>
                </a:lnTo>
                <a:lnTo>
                  <a:pt x="203914" y="4613770"/>
                </a:lnTo>
                <a:lnTo>
                  <a:pt x="186373" y="4609932"/>
                </a:lnTo>
                <a:lnTo>
                  <a:pt x="171025" y="4604999"/>
                </a:lnTo>
                <a:lnTo>
                  <a:pt x="154580" y="4598969"/>
                </a:lnTo>
                <a:lnTo>
                  <a:pt x="139232" y="4591843"/>
                </a:lnTo>
                <a:lnTo>
                  <a:pt x="124980" y="4583073"/>
                </a:lnTo>
                <a:lnTo>
                  <a:pt x="111276" y="4574851"/>
                </a:lnTo>
                <a:lnTo>
                  <a:pt x="98120" y="4564984"/>
                </a:lnTo>
                <a:lnTo>
                  <a:pt x="85513" y="4553472"/>
                </a:lnTo>
                <a:lnTo>
                  <a:pt x="74001" y="4542509"/>
                </a:lnTo>
                <a:lnTo>
                  <a:pt x="63038" y="4530998"/>
                </a:lnTo>
                <a:lnTo>
                  <a:pt x="52623" y="4518391"/>
                </a:lnTo>
                <a:lnTo>
                  <a:pt x="43304" y="4504687"/>
                </a:lnTo>
                <a:lnTo>
                  <a:pt x="34534" y="4490983"/>
                </a:lnTo>
                <a:lnTo>
                  <a:pt x="26860" y="4476731"/>
                </a:lnTo>
                <a:lnTo>
                  <a:pt x="20282" y="4461931"/>
                </a:lnTo>
                <a:lnTo>
                  <a:pt x="14252" y="4447130"/>
                </a:lnTo>
                <a:lnTo>
                  <a:pt x="9319" y="4431234"/>
                </a:lnTo>
                <a:lnTo>
                  <a:pt x="5482" y="4415886"/>
                </a:lnTo>
                <a:lnTo>
                  <a:pt x="2741" y="4399441"/>
                </a:lnTo>
                <a:lnTo>
                  <a:pt x="549" y="4382996"/>
                </a:lnTo>
                <a:lnTo>
                  <a:pt x="0" y="4366552"/>
                </a:lnTo>
                <a:lnTo>
                  <a:pt x="0" y="4350107"/>
                </a:lnTo>
                <a:lnTo>
                  <a:pt x="1097" y="4333114"/>
                </a:lnTo>
                <a:lnTo>
                  <a:pt x="3837" y="4316669"/>
                </a:lnTo>
                <a:lnTo>
                  <a:pt x="7674" y="4299677"/>
                </a:lnTo>
                <a:lnTo>
                  <a:pt x="12608" y="4283232"/>
                </a:lnTo>
                <a:lnTo>
                  <a:pt x="19186" y="4266239"/>
                </a:lnTo>
                <a:lnTo>
                  <a:pt x="26312" y="4249795"/>
                </a:lnTo>
                <a:lnTo>
                  <a:pt x="34534" y="4234446"/>
                </a:lnTo>
                <a:lnTo>
                  <a:pt x="1933892" y="946611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3795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1F7C250-0A8E-4BB5-9C9C-DA63B4DB52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61780" y="0"/>
            <a:ext cx="4282220" cy="5143500"/>
          </a:xfrm>
          <a:custGeom>
            <a:avLst/>
            <a:gdLst>
              <a:gd name="connsiteX0" fmla="*/ 0 w 4282220"/>
              <a:gd name="connsiteY0" fmla="*/ 0 h 5143500"/>
              <a:gd name="connsiteX1" fmla="*/ 2348659 w 4282220"/>
              <a:gd name="connsiteY1" fmla="*/ 0 h 5143500"/>
              <a:gd name="connsiteX2" fmla="*/ 4282220 w 4282220"/>
              <a:gd name="connsiteY2" fmla="*/ 737627 h 5143500"/>
              <a:gd name="connsiteX3" fmla="*/ 4282220 w 4282220"/>
              <a:gd name="connsiteY3" fmla="*/ 3523347 h 5143500"/>
              <a:gd name="connsiteX4" fmla="*/ 2435786 w 4282220"/>
              <a:gd name="connsiteY4" fmla="*/ 5143500 h 5143500"/>
              <a:gd name="connsiteX5" fmla="*/ 1001549 w 4282220"/>
              <a:gd name="connsiteY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2220" h="5143500">
                <a:moveTo>
                  <a:pt x="0" y="0"/>
                </a:moveTo>
                <a:lnTo>
                  <a:pt x="2348659" y="0"/>
                </a:lnTo>
                <a:lnTo>
                  <a:pt x="4282220" y="737627"/>
                </a:lnTo>
                <a:lnTo>
                  <a:pt x="4282220" y="3523347"/>
                </a:lnTo>
                <a:lnTo>
                  <a:pt x="2435786" y="5143500"/>
                </a:lnTo>
                <a:lnTo>
                  <a:pt x="1001549" y="5143500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A223996-E898-4853-87A8-6ACDC24AA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1" y="334800"/>
            <a:ext cx="4392024" cy="3508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6804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 -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4DF0AAB-09BD-45C5-8AC2-830FB072F1A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9974" y="1"/>
            <a:ext cx="5534025" cy="5143500"/>
          </a:xfrm>
          <a:custGeom>
            <a:avLst/>
            <a:gdLst>
              <a:gd name="connsiteX0" fmla="*/ 0 w 5211368"/>
              <a:gd name="connsiteY0" fmla="*/ 0 h 5143500"/>
              <a:gd name="connsiteX1" fmla="*/ 5211368 w 5211368"/>
              <a:gd name="connsiteY1" fmla="*/ 0 h 5143500"/>
              <a:gd name="connsiteX2" fmla="*/ 5211368 w 5211368"/>
              <a:gd name="connsiteY2" fmla="*/ 3584281 h 5143500"/>
              <a:gd name="connsiteX3" fmla="*/ 5013855 w 5211368"/>
              <a:gd name="connsiteY3" fmla="*/ 3789920 h 5143500"/>
              <a:gd name="connsiteX4" fmla="*/ 3714258 w 5211368"/>
              <a:gd name="connsiteY4" fmla="*/ 5143500 h 5143500"/>
              <a:gd name="connsiteX5" fmla="*/ 1490375 w 5211368"/>
              <a:gd name="connsiteY5" fmla="*/ 5143500 h 5143500"/>
              <a:gd name="connsiteX6" fmla="*/ 797260 w 5211368"/>
              <a:gd name="connsiteY6" fmla="*/ 275146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11368" h="5143500">
                <a:moveTo>
                  <a:pt x="0" y="0"/>
                </a:moveTo>
                <a:lnTo>
                  <a:pt x="5211368" y="0"/>
                </a:lnTo>
                <a:lnTo>
                  <a:pt x="5211368" y="3584281"/>
                </a:lnTo>
                <a:lnTo>
                  <a:pt x="5013855" y="3789920"/>
                </a:lnTo>
                <a:lnTo>
                  <a:pt x="3714258" y="5143500"/>
                </a:lnTo>
                <a:lnTo>
                  <a:pt x="1490375" y="5143500"/>
                </a:lnTo>
                <a:lnTo>
                  <a:pt x="797260" y="2751461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7" y="1948300"/>
            <a:ext cx="4032697" cy="4431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2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439327"/>
            <a:ext cx="4032697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5000"/>
              </a:lnSpc>
              <a:spcBef>
                <a:spcPts val="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57895" y="586880"/>
            <a:ext cx="1821425" cy="30994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F89432F-23D9-4833-B7EF-DFE0833A053D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rgbClr val="00204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8583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Picture Placeholder 18">
            <a:extLst>
              <a:ext uri="{FF2B5EF4-FFF2-40B4-BE49-F238E27FC236}">
                <a16:creationId xmlns:a16="http://schemas.microsoft.com/office/drawing/2014/main" id="{4B0C536F-DEA1-4A74-8167-426095B6A6B1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5355507" y="711546"/>
            <a:ext cx="4131129" cy="3636000"/>
          </a:xfrm>
          <a:custGeom>
            <a:avLst/>
            <a:gdLst>
              <a:gd name="connsiteX0" fmla="*/ 1940190 w 3894138"/>
              <a:gd name="connsiteY0" fmla="*/ 0 h 3427412"/>
              <a:gd name="connsiteX1" fmla="*/ 1947069 w 3894138"/>
              <a:gd name="connsiteY1" fmla="*/ 0 h 3427412"/>
              <a:gd name="connsiteX2" fmla="*/ 1953949 w 3894138"/>
              <a:gd name="connsiteY2" fmla="*/ 0 h 3427412"/>
              <a:gd name="connsiteX3" fmla="*/ 1960828 w 3894138"/>
              <a:gd name="connsiteY3" fmla="*/ 353 h 3427412"/>
              <a:gd name="connsiteX4" fmla="*/ 1967531 w 3894138"/>
              <a:gd name="connsiteY4" fmla="*/ 706 h 3427412"/>
              <a:gd name="connsiteX5" fmla="*/ 1974411 w 3894138"/>
              <a:gd name="connsiteY5" fmla="*/ 1588 h 3427412"/>
              <a:gd name="connsiteX6" fmla="*/ 1981290 w 3894138"/>
              <a:gd name="connsiteY6" fmla="*/ 2470 h 3427412"/>
              <a:gd name="connsiteX7" fmla="*/ 1988170 w 3894138"/>
              <a:gd name="connsiteY7" fmla="*/ 3704 h 3427412"/>
              <a:gd name="connsiteX8" fmla="*/ 1994696 w 3894138"/>
              <a:gd name="connsiteY8" fmla="*/ 5115 h 3427412"/>
              <a:gd name="connsiteX9" fmla="*/ 2001399 w 3894138"/>
              <a:gd name="connsiteY9" fmla="*/ 6703 h 3427412"/>
              <a:gd name="connsiteX10" fmla="*/ 2008103 w 3894138"/>
              <a:gd name="connsiteY10" fmla="*/ 8467 h 3427412"/>
              <a:gd name="connsiteX11" fmla="*/ 2014629 w 3894138"/>
              <a:gd name="connsiteY11" fmla="*/ 10583 h 3427412"/>
              <a:gd name="connsiteX12" fmla="*/ 2021332 w 3894138"/>
              <a:gd name="connsiteY12" fmla="*/ 12700 h 3427412"/>
              <a:gd name="connsiteX13" fmla="*/ 2027859 w 3894138"/>
              <a:gd name="connsiteY13" fmla="*/ 15170 h 3427412"/>
              <a:gd name="connsiteX14" fmla="*/ 2034033 w 3894138"/>
              <a:gd name="connsiteY14" fmla="*/ 17815 h 3427412"/>
              <a:gd name="connsiteX15" fmla="*/ 2040560 w 3894138"/>
              <a:gd name="connsiteY15" fmla="*/ 20638 h 3427412"/>
              <a:gd name="connsiteX16" fmla="*/ 2046733 w 3894138"/>
              <a:gd name="connsiteY16" fmla="*/ 23813 h 3427412"/>
              <a:gd name="connsiteX17" fmla="*/ 2052907 w 3894138"/>
              <a:gd name="connsiteY17" fmla="*/ 26988 h 3427412"/>
              <a:gd name="connsiteX18" fmla="*/ 2059081 w 3894138"/>
              <a:gd name="connsiteY18" fmla="*/ 30515 h 3427412"/>
              <a:gd name="connsiteX19" fmla="*/ 2064902 w 3894138"/>
              <a:gd name="connsiteY19" fmla="*/ 34220 h 3427412"/>
              <a:gd name="connsiteX20" fmla="*/ 2070900 w 3894138"/>
              <a:gd name="connsiteY20" fmla="*/ 38100 h 3427412"/>
              <a:gd name="connsiteX21" fmla="*/ 2076721 w 3894138"/>
              <a:gd name="connsiteY21" fmla="*/ 42157 h 3427412"/>
              <a:gd name="connsiteX22" fmla="*/ 2082366 w 3894138"/>
              <a:gd name="connsiteY22" fmla="*/ 46743 h 3427412"/>
              <a:gd name="connsiteX23" fmla="*/ 2087834 w 3894138"/>
              <a:gd name="connsiteY23" fmla="*/ 51153 h 3427412"/>
              <a:gd name="connsiteX24" fmla="*/ 2093126 w 3894138"/>
              <a:gd name="connsiteY24" fmla="*/ 55915 h 3427412"/>
              <a:gd name="connsiteX25" fmla="*/ 2098418 w 3894138"/>
              <a:gd name="connsiteY25" fmla="*/ 61031 h 3427412"/>
              <a:gd name="connsiteX26" fmla="*/ 2103710 w 3894138"/>
              <a:gd name="connsiteY26" fmla="*/ 66146 h 3427412"/>
              <a:gd name="connsiteX27" fmla="*/ 2108472 w 3894138"/>
              <a:gd name="connsiteY27" fmla="*/ 71438 h 3427412"/>
              <a:gd name="connsiteX28" fmla="*/ 2113411 w 3894138"/>
              <a:gd name="connsiteY28" fmla="*/ 77082 h 3427412"/>
              <a:gd name="connsiteX29" fmla="*/ 2118174 w 3894138"/>
              <a:gd name="connsiteY29" fmla="*/ 83079 h 3427412"/>
              <a:gd name="connsiteX30" fmla="*/ 2122584 w 3894138"/>
              <a:gd name="connsiteY30" fmla="*/ 89076 h 3427412"/>
              <a:gd name="connsiteX31" fmla="*/ 2126994 w 3894138"/>
              <a:gd name="connsiteY31" fmla="*/ 95250 h 3427412"/>
              <a:gd name="connsiteX32" fmla="*/ 2131227 w 3894138"/>
              <a:gd name="connsiteY32" fmla="*/ 101777 h 3427412"/>
              <a:gd name="connsiteX33" fmla="*/ 2135108 w 3894138"/>
              <a:gd name="connsiteY33" fmla="*/ 108479 h 3427412"/>
              <a:gd name="connsiteX34" fmla="*/ 2999982 w 3894138"/>
              <a:gd name="connsiteY34" fmla="*/ 1605139 h 3427412"/>
              <a:gd name="connsiteX35" fmla="*/ 3864856 w 3894138"/>
              <a:gd name="connsiteY35" fmla="*/ 3101975 h 3427412"/>
              <a:gd name="connsiteX36" fmla="*/ 3868561 w 3894138"/>
              <a:gd name="connsiteY36" fmla="*/ 3108854 h 3427412"/>
              <a:gd name="connsiteX37" fmla="*/ 3872089 w 3894138"/>
              <a:gd name="connsiteY37" fmla="*/ 3115557 h 3427412"/>
              <a:gd name="connsiteX38" fmla="*/ 3875263 w 3894138"/>
              <a:gd name="connsiteY38" fmla="*/ 3122436 h 3427412"/>
              <a:gd name="connsiteX39" fmla="*/ 3878262 w 3894138"/>
              <a:gd name="connsiteY39" fmla="*/ 3129491 h 3427412"/>
              <a:gd name="connsiteX40" fmla="*/ 3881085 w 3894138"/>
              <a:gd name="connsiteY40" fmla="*/ 3136371 h 3427412"/>
              <a:gd name="connsiteX41" fmla="*/ 3883378 w 3894138"/>
              <a:gd name="connsiteY41" fmla="*/ 3143426 h 3427412"/>
              <a:gd name="connsiteX42" fmla="*/ 3885671 w 3894138"/>
              <a:gd name="connsiteY42" fmla="*/ 3150305 h 3427412"/>
              <a:gd name="connsiteX43" fmla="*/ 3887611 w 3894138"/>
              <a:gd name="connsiteY43" fmla="*/ 3157361 h 3427412"/>
              <a:gd name="connsiteX44" fmla="*/ 3889199 w 3894138"/>
              <a:gd name="connsiteY44" fmla="*/ 3164416 h 3427412"/>
              <a:gd name="connsiteX45" fmla="*/ 3890610 w 3894138"/>
              <a:gd name="connsiteY45" fmla="*/ 3171472 h 3427412"/>
              <a:gd name="connsiteX46" fmla="*/ 3892021 w 3894138"/>
              <a:gd name="connsiteY46" fmla="*/ 3178704 h 3427412"/>
              <a:gd name="connsiteX47" fmla="*/ 3892727 w 3894138"/>
              <a:gd name="connsiteY47" fmla="*/ 3185759 h 3427412"/>
              <a:gd name="connsiteX48" fmla="*/ 3893609 w 3894138"/>
              <a:gd name="connsiteY48" fmla="*/ 3192815 h 3427412"/>
              <a:gd name="connsiteX49" fmla="*/ 3893961 w 3894138"/>
              <a:gd name="connsiteY49" fmla="*/ 3199870 h 3427412"/>
              <a:gd name="connsiteX50" fmla="*/ 3894138 w 3894138"/>
              <a:gd name="connsiteY50" fmla="*/ 3206926 h 3427412"/>
              <a:gd name="connsiteX51" fmla="*/ 3894138 w 3894138"/>
              <a:gd name="connsiteY51" fmla="*/ 3213805 h 3427412"/>
              <a:gd name="connsiteX52" fmla="*/ 3893961 w 3894138"/>
              <a:gd name="connsiteY52" fmla="*/ 3220684 h 3427412"/>
              <a:gd name="connsiteX53" fmla="*/ 3893609 w 3894138"/>
              <a:gd name="connsiteY53" fmla="*/ 3227740 h 3427412"/>
              <a:gd name="connsiteX54" fmla="*/ 3892727 w 3894138"/>
              <a:gd name="connsiteY54" fmla="*/ 3234619 h 3427412"/>
              <a:gd name="connsiteX55" fmla="*/ 3892021 w 3894138"/>
              <a:gd name="connsiteY55" fmla="*/ 3241675 h 3427412"/>
              <a:gd name="connsiteX56" fmla="*/ 3890787 w 3894138"/>
              <a:gd name="connsiteY56" fmla="*/ 3248377 h 3427412"/>
              <a:gd name="connsiteX57" fmla="*/ 3889375 w 3894138"/>
              <a:gd name="connsiteY57" fmla="*/ 3255080 h 3427412"/>
              <a:gd name="connsiteX58" fmla="*/ 3887788 w 3894138"/>
              <a:gd name="connsiteY58" fmla="*/ 3261959 h 3427412"/>
              <a:gd name="connsiteX59" fmla="*/ 3886024 w 3894138"/>
              <a:gd name="connsiteY59" fmla="*/ 3268662 h 3427412"/>
              <a:gd name="connsiteX60" fmla="*/ 3884083 w 3894138"/>
              <a:gd name="connsiteY60" fmla="*/ 3275012 h 3427412"/>
              <a:gd name="connsiteX61" fmla="*/ 3881967 w 3894138"/>
              <a:gd name="connsiteY61" fmla="*/ 3281715 h 3427412"/>
              <a:gd name="connsiteX62" fmla="*/ 3879673 w 3894138"/>
              <a:gd name="connsiteY62" fmla="*/ 3288065 h 3427412"/>
              <a:gd name="connsiteX63" fmla="*/ 3877027 w 3894138"/>
              <a:gd name="connsiteY63" fmla="*/ 3294415 h 3427412"/>
              <a:gd name="connsiteX64" fmla="*/ 3874205 w 3894138"/>
              <a:gd name="connsiteY64" fmla="*/ 3300589 h 3427412"/>
              <a:gd name="connsiteX65" fmla="*/ 3871207 w 3894138"/>
              <a:gd name="connsiteY65" fmla="*/ 3306939 h 3427412"/>
              <a:gd name="connsiteX66" fmla="*/ 3868031 w 3894138"/>
              <a:gd name="connsiteY66" fmla="*/ 3312936 h 3427412"/>
              <a:gd name="connsiteX67" fmla="*/ 3864856 w 3894138"/>
              <a:gd name="connsiteY67" fmla="*/ 3318933 h 3427412"/>
              <a:gd name="connsiteX68" fmla="*/ 3861328 w 3894138"/>
              <a:gd name="connsiteY68" fmla="*/ 3324930 h 3427412"/>
              <a:gd name="connsiteX69" fmla="*/ 3857624 w 3894138"/>
              <a:gd name="connsiteY69" fmla="*/ 3330751 h 3427412"/>
              <a:gd name="connsiteX70" fmla="*/ 3853567 w 3894138"/>
              <a:gd name="connsiteY70" fmla="*/ 3336219 h 3427412"/>
              <a:gd name="connsiteX71" fmla="*/ 3849686 w 3894138"/>
              <a:gd name="connsiteY71" fmla="*/ 3341864 h 3427412"/>
              <a:gd name="connsiteX72" fmla="*/ 3845453 w 3894138"/>
              <a:gd name="connsiteY72" fmla="*/ 3347155 h 3427412"/>
              <a:gd name="connsiteX73" fmla="*/ 3840866 w 3894138"/>
              <a:gd name="connsiteY73" fmla="*/ 3352447 h 3427412"/>
              <a:gd name="connsiteX74" fmla="*/ 3836456 w 3894138"/>
              <a:gd name="connsiteY74" fmla="*/ 3357739 h 3427412"/>
              <a:gd name="connsiteX75" fmla="*/ 3831693 w 3894138"/>
              <a:gd name="connsiteY75" fmla="*/ 3362501 h 3427412"/>
              <a:gd name="connsiteX76" fmla="*/ 3826931 w 3894138"/>
              <a:gd name="connsiteY76" fmla="*/ 3367440 h 3427412"/>
              <a:gd name="connsiteX77" fmla="*/ 3821815 w 3894138"/>
              <a:gd name="connsiteY77" fmla="*/ 3372202 h 3427412"/>
              <a:gd name="connsiteX78" fmla="*/ 3816700 w 3894138"/>
              <a:gd name="connsiteY78" fmla="*/ 3376789 h 3427412"/>
              <a:gd name="connsiteX79" fmla="*/ 3811231 w 3894138"/>
              <a:gd name="connsiteY79" fmla="*/ 3381198 h 3427412"/>
              <a:gd name="connsiteX80" fmla="*/ 3805763 w 3894138"/>
              <a:gd name="connsiteY80" fmla="*/ 3385432 h 3427412"/>
              <a:gd name="connsiteX81" fmla="*/ 3800119 w 3894138"/>
              <a:gd name="connsiteY81" fmla="*/ 3389312 h 3427412"/>
              <a:gd name="connsiteX82" fmla="*/ 3794474 w 3894138"/>
              <a:gd name="connsiteY82" fmla="*/ 3393193 h 3427412"/>
              <a:gd name="connsiteX83" fmla="*/ 3788300 w 3894138"/>
              <a:gd name="connsiteY83" fmla="*/ 3396897 h 3427412"/>
              <a:gd name="connsiteX84" fmla="*/ 3782302 w 3894138"/>
              <a:gd name="connsiteY84" fmla="*/ 3400425 h 3427412"/>
              <a:gd name="connsiteX85" fmla="*/ 3775952 w 3894138"/>
              <a:gd name="connsiteY85" fmla="*/ 3403776 h 3427412"/>
              <a:gd name="connsiteX86" fmla="*/ 3769778 w 3894138"/>
              <a:gd name="connsiteY86" fmla="*/ 3406951 h 3427412"/>
              <a:gd name="connsiteX87" fmla="*/ 3763251 w 3894138"/>
              <a:gd name="connsiteY87" fmla="*/ 3409773 h 3427412"/>
              <a:gd name="connsiteX88" fmla="*/ 3756725 w 3894138"/>
              <a:gd name="connsiteY88" fmla="*/ 3412595 h 3427412"/>
              <a:gd name="connsiteX89" fmla="*/ 3750022 w 3894138"/>
              <a:gd name="connsiteY89" fmla="*/ 3415065 h 3427412"/>
              <a:gd name="connsiteX90" fmla="*/ 3743142 w 3894138"/>
              <a:gd name="connsiteY90" fmla="*/ 3417534 h 3427412"/>
              <a:gd name="connsiteX91" fmla="*/ 3736087 w 3894138"/>
              <a:gd name="connsiteY91" fmla="*/ 3419475 h 3427412"/>
              <a:gd name="connsiteX92" fmla="*/ 3729031 w 3894138"/>
              <a:gd name="connsiteY92" fmla="*/ 3421415 h 3427412"/>
              <a:gd name="connsiteX93" fmla="*/ 3721798 w 3894138"/>
              <a:gd name="connsiteY93" fmla="*/ 3423002 h 3427412"/>
              <a:gd name="connsiteX94" fmla="*/ 3714566 w 3894138"/>
              <a:gd name="connsiteY94" fmla="*/ 3424237 h 3427412"/>
              <a:gd name="connsiteX95" fmla="*/ 3707157 w 3894138"/>
              <a:gd name="connsiteY95" fmla="*/ 3425472 h 3427412"/>
              <a:gd name="connsiteX96" fmla="*/ 3699749 w 3894138"/>
              <a:gd name="connsiteY96" fmla="*/ 3426177 h 3427412"/>
              <a:gd name="connsiteX97" fmla="*/ 3692163 w 3894138"/>
              <a:gd name="connsiteY97" fmla="*/ 3427059 h 3427412"/>
              <a:gd name="connsiteX98" fmla="*/ 3684579 w 3894138"/>
              <a:gd name="connsiteY98" fmla="*/ 3427412 h 3427412"/>
              <a:gd name="connsiteX99" fmla="*/ 3676641 w 3894138"/>
              <a:gd name="connsiteY99" fmla="*/ 3427412 h 3427412"/>
              <a:gd name="connsiteX100" fmla="*/ 1947069 w 3894138"/>
              <a:gd name="connsiteY100" fmla="*/ 3427412 h 3427412"/>
              <a:gd name="connsiteX101" fmla="*/ 217674 w 3894138"/>
              <a:gd name="connsiteY101" fmla="*/ 3427412 h 3427412"/>
              <a:gd name="connsiteX102" fmla="*/ 209736 w 3894138"/>
              <a:gd name="connsiteY102" fmla="*/ 3427412 h 3427412"/>
              <a:gd name="connsiteX103" fmla="*/ 201975 w 3894138"/>
              <a:gd name="connsiteY103" fmla="*/ 3427059 h 3427412"/>
              <a:gd name="connsiteX104" fmla="*/ 194390 w 3894138"/>
              <a:gd name="connsiteY104" fmla="*/ 3426177 h 3427412"/>
              <a:gd name="connsiteX105" fmla="*/ 186981 w 3894138"/>
              <a:gd name="connsiteY105" fmla="*/ 3425472 h 3427412"/>
              <a:gd name="connsiteX106" fmla="*/ 179396 w 3894138"/>
              <a:gd name="connsiteY106" fmla="*/ 3424237 h 3427412"/>
              <a:gd name="connsiteX107" fmla="*/ 172164 w 3894138"/>
              <a:gd name="connsiteY107" fmla="*/ 3423002 h 3427412"/>
              <a:gd name="connsiteX108" fmla="*/ 164931 w 3894138"/>
              <a:gd name="connsiteY108" fmla="*/ 3421415 h 3427412"/>
              <a:gd name="connsiteX109" fmla="*/ 158052 w 3894138"/>
              <a:gd name="connsiteY109" fmla="*/ 3419475 h 3427412"/>
              <a:gd name="connsiteX110" fmla="*/ 151172 w 3894138"/>
              <a:gd name="connsiteY110" fmla="*/ 3417534 h 3427412"/>
              <a:gd name="connsiteX111" fmla="*/ 144293 w 3894138"/>
              <a:gd name="connsiteY111" fmla="*/ 3415065 h 3427412"/>
              <a:gd name="connsiteX112" fmla="*/ 137413 w 3894138"/>
              <a:gd name="connsiteY112" fmla="*/ 3412595 h 3427412"/>
              <a:gd name="connsiteX113" fmla="*/ 131063 w 3894138"/>
              <a:gd name="connsiteY113" fmla="*/ 3409773 h 3427412"/>
              <a:gd name="connsiteX114" fmla="*/ 124360 w 3894138"/>
              <a:gd name="connsiteY114" fmla="*/ 3406951 h 3427412"/>
              <a:gd name="connsiteX115" fmla="*/ 118010 w 3894138"/>
              <a:gd name="connsiteY115" fmla="*/ 3403776 h 3427412"/>
              <a:gd name="connsiteX116" fmla="*/ 111836 w 3894138"/>
              <a:gd name="connsiteY116" fmla="*/ 3400425 h 3427412"/>
              <a:gd name="connsiteX117" fmla="*/ 105838 w 3894138"/>
              <a:gd name="connsiteY117" fmla="*/ 3396897 h 3427412"/>
              <a:gd name="connsiteX118" fmla="*/ 99841 w 3894138"/>
              <a:gd name="connsiteY118" fmla="*/ 3393193 h 3427412"/>
              <a:gd name="connsiteX119" fmla="*/ 94020 w 3894138"/>
              <a:gd name="connsiteY119" fmla="*/ 3389312 h 3427412"/>
              <a:gd name="connsiteX120" fmla="*/ 88375 w 3894138"/>
              <a:gd name="connsiteY120" fmla="*/ 3385432 h 3427412"/>
              <a:gd name="connsiteX121" fmla="*/ 82907 w 3894138"/>
              <a:gd name="connsiteY121" fmla="*/ 3381198 h 3427412"/>
              <a:gd name="connsiteX122" fmla="*/ 77615 w 3894138"/>
              <a:gd name="connsiteY122" fmla="*/ 3376789 h 3427412"/>
              <a:gd name="connsiteX123" fmla="*/ 72323 w 3894138"/>
              <a:gd name="connsiteY123" fmla="*/ 3372202 h 3427412"/>
              <a:gd name="connsiteX124" fmla="*/ 67384 w 3894138"/>
              <a:gd name="connsiteY124" fmla="*/ 3367440 h 3427412"/>
              <a:gd name="connsiteX125" fmla="*/ 62621 w 3894138"/>
              <a:gd name="connsiteY125" fmla="*/ 3362501 h 3427412"/>
              <a:gd name="connsiteX126" fmla="*/ 57682 w 3894138"/>
              <a:gd name="connsiteY126" fmla="*/ 3357739 h 3427412"/>
              <a:gd name="connsiteX127" fmla="*/ 53096 w 3894138"/>
              <a:gd name="connsiteY127" fmla="*/ 3352447 h 3427412"/>
              <a:gd name="connsiteX128" fmla="*/ 48862 w 3894138"/>
              <a:gd name="connsiteY128" fmla="*/ 3347155 h 3427412"/>
              <a:gd name="connsiteX129" fmla="*/ 44629 w 3894138"/>
              <a:gd name="connsiteY129" fmla="*/ 3341864 h 3427412"/>
              <a:gd name="connsiteX130" fmla="*/ 40395 w 3894138"/>
              <a:gd name="connsiteY130" fmla="*/ 3336219 h 3427412"/>
              <a:gd name="connsiteX131" fmla="*/ 36514 w 3894138"/>
              <a:gd name="connsiteY131" fmla="*/ 3330751 h 3427412"/>
              <a:gd name="connsiteX132" fmla="*/ 32810 w 3894138"/>
              <a:gd name="connsiteY132" fmla="*/ 3324930 h 3427412"/>
              <a:gd name="connsiteX133" fmla="*/ 29282 w 3894138"/>
              <a:gd name="connsiteY133" fmla="*/ 3318933 h 3427412"/>
              <a:gd name="connsiteX134" fmla="*/ 25931 w 3894138"/>
              <a:gd name="connsiteY134" fmla="*/ 3312936 h 3427412"/>
              <a:gd name="connsiteX135" fmla="*/ 22932 w 3894138"/>
              <a:gd name="connsiteY135" fmla="*/ 3306939 h 3427412"/>
              <a:gd name="connsiteX136" fmla="*/ 19933 w 3894138"/>
              <a:gd name="connsiteY136" fmla="*/ 3300589 h 3427412"/>
              <a:gd name="connsiteX137" fmla="*/ 17287 w 3894138"/>
              <a:gd name="connsiteY137" fmla="*/ 3294415 h 3427412"/>
              <a:gd name="connsiteX138" fmla="*/ 14641 w 3894138"/>
              <a:gd name="connsiteY138" fmla="*/ 3288065 h 3427412"/>
              <a:gd name="connsiteX139" fmla="*/ 12348 w 3894138"/>
              <a:gd name="connsiteY139" fmla="*/ 3281715 h 3427412"/>
              <a:gd name="connsiteX140" fmla="*/ 10055 w 3894138"/>
              <a:gd name="connsiteY140" fmla="*/ 3275012 h 3427412"/>
              <a:gd name="connsiteX141" fmla="*/ 7938 w 3894138"/>
              <a:gd name="connsiteY141" fmla="*/ 3268662 h 3427412"/>
              <a:gd name="connsiteX142" fmla="*/ 6174 w 3894138"/>
              <a:gd name="connsiteY142" fmla="*/ 3261959 h 3427412"/>
              <a:gd name="connsiteX143" fmla="*/ 4763 w 3894138"/>
              <a:gd name="connsiteY143" fmla="*/ 3255080 h 3427412"/>
              <a:gd name="connsiteX144" fmla="*/ 3528 w 3894138"/>
              <a:gd name="connsiteY144" fmla="*/ 3248377 h 3427412"/>
              <a:gd name="connsiteX145" fmla="*/ 2293 w 3894138"/>
              <a:gd name="connsiteY145" fmla="*/ 3241675 h 3427412"/>
              <a:gd name="connsiteX146" fmla="*/ 1411 w 3894138"/>
              <a:gd name="connsiteY146" fmla="*/ 3234619 h 3427412"/>
              <a:gd name="connsiteX147" fmla="*/ 706 w 3894138"/>
              <a:gd name="connsiteY147" fmla="*/ 3227740 h 3427412"/>
              <a:gd name="connsiteX148" fmla="*/ 177 w 3894138"/>
              <a:gd name="connsiteY148" fmla="*/ 3220684 h 3427412"/>
              <a:gd name="connsiteX149" fmla="*/ 0 w 3894138"/>
              <a:gd name="connsiteY149" fmla="*/ 3213805 h 3427412"/>
              <a:gd name="connsiteX150" fmla="*/ 0 w 3894138"/>
              <a:gd name="connsiteY150" fmla="*/ 3206926 h 3427412"/>
              <a:gd name="connsiteX151" fmla="*/ 177 w 3894138"/>
              <a:gd name="connsiteY151" fmla="*/ 3199870 h 3427412"/>
              <a:gd name="connsiteX152" fmla="*/ 706 w 3894138"/>
              <a:gd name="connsiteY152" fmla="*/ 3192815 h 3427412"/>
              <a:gd name="connsiteX153" fmla="*/ 1411 w 3894138"/>
              <a:gd name="connsiteY153" fmla="*/ 3185759 h 3427412"/>
              <a:gd name="connsiteX154" fmla="*/ 2293 w 3894138"/>
              <a:gd name="connsiteY154" fmla="*/ 3178704 h 3427412"/>
              <a:gd name="connsiteX155" fmla="*/ 3528 w 3894138"/>
              <a:gd name="connsiteY155" fmla="*/ 3171472 h 3427412"/>
              <a:gd name="connsiteX156" fmla="*/ 4939 w 3894138"/>
              <a:gd name="connsiteY156" fmla="*/ 3164416 h 3427412"/>
              <a:gd name="connsiteX157" fmla="*/ 6703 w 3894138"/>
              <a:gd name="connsiteY157" fmla="*/ 3157361 h 3427412"/>
              <a:gd name="connsiteX158" fmla="*/ 8644 w 3894138"/>
              <a:gd name="connsiteY158" fmla="*/ 3150305 h 3427412"/>
              <a:gd name="connsiteX159" fmla="*/ 10760 w 3894138"/>
              <a:gd name="connsiteY159" fmla="*/ 3143426 h 3427412"/>
              <a:gd name="connsiteX160" fmla="*/ 13054 w 3894138"/>
              <a:gd name="connsiteY160" fmla="*/ 3136371 h 3427412"/>
              <a:gd name="connsiteX161" fmla="*/ 15876 w 3894138"/>
              <a:gd name="connsiteY161" fmla="*/ 3129491 h 3427412"/>
              <a:gd name="connsiteX162" fmla="*/ 19051 w 3894138"/>
              <a:gd name="connsiteY162" fmla="*/ 3122436 h 3427412"/>
              <a:gd name="connsiteX163" fmla="*/ 22050 w 3894138"/>
              <a:gd name="connsiteY163" fmla="*/ 3115557 h 3427412"/>
              <a:gd name="connsiteX164" fmla="*/ 25578 w 3894138"/>
              <a:gd name="connsiteY164" fmla="*/ 3108854 h 3427412"/>
              <a:gd name="connsiteX165" fmla="*/ 29282 w 3894138"/>
              <a:gd name="connsiteY165" fmla="*/ 3101975 h 3427412"/>
              <a:gd name="connsiteX166" fmla="*/ 894333 w 3894138"/>
              <a:gd name="connsiteY166" fmla="*/ 1605139 h 3427412"/>
              <a:gd name="connsiteX167" fmla="*/ 1759030 w 3894138"/>
              <a:gd name="connsiteY167" fmla="*/ 108479 h 3427412"/>
              <a:gd name="connsiteX168" fmla="*/ 1763087 w 3894138"/>
              <a:gd name="connsiteY168" fmla="*/ 101777 h 3427412"/>
              <a:gd name="connsiteX169" fmla="*/ 1767144 w 3894138"/>
              <a:gd name="connsiteY169" fmla="*/ 95250 h 3427412"/>
              <a:gd name="connsiteX170" fmla="*/ 1771554 w 3894138"/>
              <a:gd name="connsiteY170" fmla="*/ 89076 h 3427412"/>
              <a:gd name="connsiteX171" fmla="*/ 1775964 w 3894138"/>
              <a:gd name="connsiteY171" fmla="*/ 83079 h 3427412"/>
              <a:gd name="connsiteX172" fmla="*/ 1780727 w 3894138"/>
              <a:gd name="connsiteY172" fmla="*/ 77082 h 3427412"/>
              <a:gd name="connsiteX173" fmla="*/ 1785490 w 3894138"/>
              <a:gd name="connsiteY173" fmla="*/ 71438 h 3427412"/>
              <a:gd name="connsiteX174" fmla="*/ 1790605 w 3894138"/>
              <a:gd name="connsiteY174" fmla="*/ 66146 h 3427412"/>
              <a:gd name="connsiteX175" fmla="*/ 1795721 w 3894138"/>
              <a:gd name="connsiteY175" fmla="*/ 61031 h 3427412"/>
              <a:gd name="connsiteX176" fmla="*/ 1801013 w 3894138"/>
              <a:gd name="connsiteY176" fmla="*/ 55915 h 3427412"/>
              <a:gd name="connsiteX177" fmla="*/ 1806481 w 3894138"/>
              <a:gd name="connsiteY177" fmla="*/ 51153 h 3427412"/>
              <a:gd name="connsiteX178" fmla="*/ 1811949 w 3894138"/>
              <a:gd name="connsiteY178" fmla="*/ 46743 h 3427412"/>
              <a:gd name="connsiteX179" fmla="*/ 1817594 w 3894138"/>
              <a:gd name="connsiteY179" fmla="*/ 42157 h 3427412"/>
              <a:gd name="connsiteX180" fmla="*/ 1823239 w 3894138"/>
              <a:gd name="connsiteY180" fmla="*/ 38100 h 3427412"/>
              <a:gd name="connsiteX181" fmla="*/ 1829236 w 3894138"/>
              <a:gd name="connsiteY181" fmla="*/ 34220 h 3427412"/>
              <a:gd name="connsiteX182" fmla="*/ 1835234 w 3894138"/>
              <a:gd name="connsiteY182" fmla="*/ 30515 h 3427412"/>
              <a:gd name="connsiteX183" fmla="*/ 1841231 w 3894138"/>
              <a:gd name="connsiteY183" fmla="*/ 26988 h 3427412"/>
              <a:gd name="connsiteX184" fmla="*/ 1847581 w 3894138"/>
              <a:gd name="connsiteY184" fmla="*/ 23813 h 3427412"/>
              <a:gd name="connsiteX185" fmla="*/ 1853755 w 3894138"/>
              <a:gd name="connsiteY185" fmla="*/ 20638 h 3427412"/>
              <a:gd name="connsiteX186" fmla="*/ 1860106 w 3894138"/>
              <a:gd name="connsiteY186" fmla="*/ 17815 h 3427412"/>
              <a:gd name="connsiteX187" fmla="*/ 1866456 w 3894138"/>
              <a:gd name="connsiteY187" fmla="*/ 15170 h 3427412"/>
              <a:gd name="connsiteX188" fmla="*/ 1872982 w 3894138"/>
              <a:gd name="connsiteY188" fmla="*/ 12700 h 3427412"/>
              <a:gd name="connsiteX189" fmla="*/ 1879333 w 3894138"/>
              <a:gd name="connsiteY189" fmla="*/ 10583 h 3427412"/>
              <a:gd name="connsiteX190" fmla="*/ 1886036 w 3894138"/>
              <a:gd name="connsiteY190" fmla="*/ 8467 h 3427412"/>
              <a:gd name="connsiteX191" fmla="*/ 1892739 w 3894138"/>
              <a:gd name="connsiteY191" fmla="*/ 6703 h 3427412"/>
              <a:gd name="connsiteX192" fmla="*/ 1899442 w 3894138"/>
              <a:gd name="connsiteY192" fmla="*/ 5115 h 3427412"/>
              <a:gd name="connsiteX193" fmla="*/ 1906145 w 3894138"/>
              <a:gd name="connsiteY193" fmla="*/ 3704 h 3427412"/>
              <a:gd name="connsiteX194" fmla="*/ 1912848 w 3894138"/>
              <a:gd name="connsiteY194" fmla="*/ 2470 h 3427412"/>
              <a:gd name="connsiteX195" fmla="*/ 1919728 w 3894138"/>
              <a:gd name="connsiteY195" fmla="*/ 1588 h 3427412"/>
              <a:gd name="connsiteX196" fmla="*/ 1926607 w 3894138"/>
              <a:gd name="connsiteY196" fmla="*/ 706 h 3427412"/>
              <a:gd name="connsiteX197" fmla="*/ 1933310 w 3894138"/>
              <a:gd name="connsiteY197" fmla="*/ 353 h 3427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3894138" h="3427412">
                <a:moveTo>
                  <a:pt x="1940190" y="0"/>
                </a:moveTo>
                <a:lnTo>
                  <a:pt x="1947069" y="0"/>
                </a:lnTo>
                <a:lnTo>
                  <a:pt x="1953949" y="0"/>
                </a:lnTo>
                <a:lnTo>
                  <a:pt x="1960828" y="353"/>
                </a:lnTo>
                <a:lnTo>
                  <a:pt x="1967531" y="706"/>
                </a:lnTo>
                <a:lnTo>
                  <a:pt x="1974411" y="1588"/>
                </a:lnTo>
                <a:lnTo>
                  <a:pt x="1981290" y="2470"/>
                </a:lnTo>
                <a:lnTo>
                  <a:pt x="1988170" y="3704"/>
                </a:lnTo>
                <a:lnTo>
                  <a:pt x="1994696" y="5115"/>
                </a:lnTo>
                <a:lnTo>
                  <a:pt x="2001399" y="6703"/>
                </a:lnTo>
                <a:lnTo>
                  <a:pt x="2008103" y="8467"/>
                </a:lnTo>
                <a:lnTo>
                  <a:pt x="2014629" y="10583"/>
                </a:lnTo>
                <a:lnTo>
                  <a:pt x="2021332" y="12700"/>
                </a:lnTo>
                <a:lnTo>
                  <a:pt x="2027859" y="15170"/>
                </a:lnTo>
                <a:lnTo>
                  <a:pt x="2034033" y="17815"/>
                </a:lnTo>
                <a:lnTo>
                  <a:pt x="2040560" y="20638"/>
                </a:lnTo>
                <a:lnTo>
                  <a:pt x="2046733" y="23813"/>
                </a:lnTo>
                <a:lnTo>
                  <a:pt x="2052907" y="26988"/>
                </a:lnTo>
                <a:lnTo>
                  <a:pt x="2059081" y="30515"/>
                </a:lnTo>
                <a:lnTo>
                  <a:pt x="2064902" y="34220"/>
                </a:lnTo>
                <a:lnTo>
                  <a:pt x="2070900" y="38100"/>
                </a:lnTo>
                <a:lnTo>
                  <a:pt x="2076721" y="42157"/>
                </a:lnTo>
                <a:lnTo>
                  <a:pt x="2082366" y="46743"/>
                </a:lnTo>
                <a:lnTo>
                  <a:pt x="2087834" y="51153"/>
                </a:lnTo>
                <a:lnTo>
                  <a:pt x="2093126" y="55915"/>
                </a:lnTo>
                <a:lnTo>
                  <a:pt x="2098418" y="61031"/>
                </a:lnTo>
                <a:lnTo>
                  <a:pt x="2103710" y="66146"/>
                </a:lnTo>
                <a:lnTo>
                  <a:pt x="2108472" y="71438"/>
                </a:lnTo>
                <a:lnTo>
                  <a:pt x="2113411" y="77082"/>
                </a:lnTo>
                <a:lnTo>
                  <a:pt x="2118174" y="83079"/>
                </a:lnTo>
                <a:lnTo>
                  <a:pt x="2122584" y="89076"/>
                </a:lnTo>
                <a:lnTo>
                  <a:pt x="2126994" y="95250"/>
                </a:lnTo>
                <a:lnTo>
                  <a:pt x="2131227" y="101777"/>
                </a:lnTo>
                <a:lnTo>
                  <a:pt x="2135108" y="108479"/>
                </a:lnTo>
                <a:lnTo>
                  <a:pt x="2999982" y="1605139"/>
                </a:lnTo>
                <a:lnTo>
                  <a:pt x="3864856" y="3101975"/>
                </a:lnTo>
                <a:lnTo>
                  <a:pt x="3868561" y="3108854"/>
                </a:lnTo>
                <a:lnTo>
                  <a:pt x="3872089" y="3115557"/>
                </a:lnTo>
                <a:lnTo>
                  <a:pt x="3875263" y="3122436"/>
                </a:lnTo>
                <a:lnTo>
                  <a:pt x="3878262" y="3129491"/>
                </a:lnTo>
                <a:lnTo>
                  <a:pt x="3881085" y="3136371"/>
                </a:lnTo>
                <a:lnTo>
                  <a:pt x="3883378" y="3143426"/>
                </a:lnTo>
                <a:lnTo>
                  <a:pt x="3885671" y="3150305"/>
                </a:lnTo>
                <a:lnTo>
                  <a:pt x="3887611" y="3157361"/>
                </a:lnTo>
                <a:lnTo>
                  <a:pt x="3889199" y="3164416"/>
                </a:lnTo>
                <a:lnTo>
                  <a:pt x="3890610" y="3171472"/>
                </a:lnTo>
                <a:lnTo>
                  <a:pt x="3892021" y="3178704"/>
                </a:lnTo>
                <a:lnTo>
                  <a:pt x="3892727" y="3185759"/>
                </a:lnTo>
                <a:lnTo>
                  <a:pt x="3893609" y="3192815"/>
                </a:lnTo>
                <a:lnTo>
                  <a:pt x="3893961" y="3199870"/>
                </a:lnTo>
                <a:lnTo>
                  <a:pt x="3894138" y="3206926"/>
                </a:lnTo>
                <a:lnTo>
                  <a:pt x="3894138" y="3213805"/>
                </a:lnTo>
                <a:lnTo>
                  <a:pt x="3893961" y="3220684"/>
                </a:lnTo>
                <a:lnTo>
                  <a:pt x="3893609" y="3227740"/>
                </a:lnTo>
                <a:lnTo>
                  <a:pt x="3892727" y="3234619"/>
                </a:lnTo>
                <a:lnTo>
                  <a:pt x="3892021" y="3241675"/>
                </a:lnTo>
                <a:lnTo>
                  <a:pt x="3890787" y="3248377"/>
                </a:lnTo>
                <a:lnTo>
                  <a:pt x="3889375" y="3255080"/>
                </a:lnTo>
                <a:lnTo>
                  <a:pt x="3887788" y="3261959"/>
                </a:lnTo>
                <a:lnTo>
                  <a:pt x="3886024" y="3268662"/>
                </a:lnTo>
                <a:lnTo>
                  <a:pt x="3884083" y="3275012"/>
                </a:lnTo>
                <a:lnTo>
                  <a:pt x="3881967" y="3281715"/>
                </a:lnTo>
                <a:lnTo>
                  <a:pt x="3879673" y="3288065"/>
                </a:lnTo>
                <a:lnTo>
                  <a:pt x="3877027" y="3294415"/>
                </a:lnTo>
                <a:lnTo>
                  <a:pt x="3874205" y="3300589"/>
                </a:lnTo>
                <a:lnTo>
                  <a:pt x="3871207" y="3306939"/>
                </a:lnTo>
                <a:lnTo>
                  <a:pt x="3868031" y="3312936"/>
                </a:lnTo>
                <a:lnTo>
                  <a:pt x="3864856" y="3318933"/>
                </a:lnTo>
                <a:lnTo>
                  <a:pt x="3861328" y="3324930"/>
                </a:lnTo>
                <a:lnTo>
                  <a:pt x="3857624" y="3330751"/>
                </a:lnTo>
                <a:lnTo>
                  <a:pt x="3853567" y="3336219"/>
                </a:lnTo>
                <a:lnTo>
                  <a:pt x="3849686" y="3341864"/>
                </a:lnTo>
                <a:lnTo>
                  <a:pt x="3845453" y="3347155"/>
                </a:lnTo>
                <a:lnTo>
                  <a:pt x="3840866" y="3352447"/>
                </a:lnTo>
                <a:lnTo>
                  <a:pt x="3836456" y="3357739"/>
                </a:lnTo>
                <a:lnTo>
                  <a:pt x="3831693" y="3362501"/>
                </a:lnTo>
                <a:lnTo>
                  <a:pt x="3826931" y="3367440"/>
                </a:lnTo>
                <a:lnTo>
                  <a:pt x="3821815" y="3372202"/>
                </a:lnTo>
                <a:lnTo>
                  <a:pt x="3816700" y="3376789"/>
                </a:lnTo>
                <a:lnTo>
                  <a:pt x="3811231" y="3381198"/>
                </a:lnTo>
                <a:lnTo>
                  <a:pt x="3805763" y="3385432"/>
                </a:lnTo>
                <a:lnTo>
                  <a:pt x="3800119" y="3389312"/>
                </a:lnTo>
                <a:lnTo>
                  <a:pt x="3794474" y="3393193"/>
                </a:lnTo>
                <a:lnTo>
                  <a:pt x="3788300" y="3396897"/>
                </a:lnTo>
                <a:lnTo>
                  <a:pt x="3782302" y="3400425"/>
                </a:lnTo>
                <a:lnTo>
                  <a:pt x="3775952" y="3403776"/>
                </a:lnTo>
                <a:lnTo>
                  <a:pt x="3769778" y="3406951"/>
                </a:lnTo>
                <a:lnTo>
                  <a:pt x="3763251" y="3409773"/>
                </a:lnTo>
                <a:lnTo>
                  <a:pt x="3756725" y="3412595"/>
                </a:lnTo>
                <a:lnTo>
                  <a:pt x="3750022" y="3415065"/>
                </a:lnTo>
                <a:lnTo>
                  <a:pt x="3743142" y="3417534"/>
                </a:lnTo>
                <a:lnTo>
                  <a:pt x="3736087" y="3419475"/>
                </a:lnTo>
                <a:lnTo>
                  <a:pt x="3729031" y="3421415"/>
                </a:lnTo>
                <a:lnTo>
                  <a:pt x="3721798" y="3423002"/>
                </a:lnTo>
                <a:lnTo>
                  <a:pt x="3714566" y="3424237"/>
                </a:lnTo>
                <a:lnTo>
                  <a:pt x="3707157" y="3425472"/>
                </a:lnTo>
                <a:lnTo>
                  <a:pt x="3699749" y="3426177"/>
                </a:lnTo>
                <a:lnTo>
                  <a:pt x="3692163" y="3427059"/>
                </a:lnTo>
                <a:lnTo>
                  <a:pt x="3684579" y="3427412"/>
                </a:lnTo>
                <a:lnTo>
                  <a:pt x="3676641" y="3427412"/>
                </a:lnTo>
                <a:lnTo>
                  <a:pt x="1947069" y="3427412"/>
                </a:lnTo>
                <a:lnTo>
                  <a:pt x="217674" y="3427412"/>
                </a:lnTo>
                <a:lnTo>
                  <a:pt x="209736" y="3427412"/>
                </a:lnTo>
                <a:lnTo>
                  <a:pt x="201975" y="3427059"/>
                </a:lnTo>
                <a:lnTo>
                  <a:pt x="194390" y="3426177"/>
                </a:lnTo>
                <a:lnTo>
                  <a:pt x="186981" y="3425472"/>
                </a:lnTo>
                <a:lnTo>
                  <a:pt x="179396" y="3424237"/>
                </a:lnTo>
                <a:lnTo>
                  <a:pt x="172164" y="3423002"/>
                </a:lnTo>
                <a:lnTo>
                  <a:pt x="164931" y="3421415"/>
                </a:lnTo>
                <a:lnTo>
                  <a:pt x="158052" y="3419475"/>
                </a:lnTo>
                <a:lnTo>
                  <a:pt x="151172" y="3417534"/>
                </a:lnTo>
                <a:lnTo>
                  <a:pt x="144293" y="3415065"/>
                </a:lnTo>
                <a:lnTo>
                  <a:pt x="137413" y="3412595"/>
                </a:lnTo>
                <a:lnTo>
                  <a:pt x="131063" y="3409773"/>
                </a:lnTo>
                <a:lnTo>
                  <a:pt x="124360" y="3406951"/>
                </a:lnTo>
                <a:lnTo>
                  <a:pt x="118010" y="3403776"/>
                </a:lnTo>
                <a:lnTo>
                  <a:pt x="111836" y="3400425"/>
                </a:lnTo>
                <a:lnTo>
                  <a:pt x="105838" y="3396897"/>
                </a:lnTo>
                <a:lnTo>
                  <a:pt x="99841" y="3393193"/>
                </a:lnTo>
                <a:lnTo>
                  <a:pt x="94020" y="3389312"/>
                </a:lnTo>
                <a:lnTo>
                  <a:pt x="88375" y="3385432"/>
                </a:lnTo>
                <a:lnTo>
                  <a:pt x="82907" y="3381198"/>
                </a:lnTo>
                <a:lnTo>
                  <a:pt x="77615" y="3376789"/>
                </a:lnTo>
                <a:lnTo>
                  <a:pt x="72323" y="3372202"/>
                </a:lnTo>
                <a:lnTo>
                  <a:pt x="67384" y="3367440"/>
                </a:lnTo>
                <a:lnTo>
                  <a:pt x="62621" y="3362501"/>
                </a:lnTo>
                <a:lnTo>
                  <a:pt x="57682" y="3357739"/>
                </a:lnTo>
                <a:lnTo>
                  <a:pt x="53096" y="3352447"/>
                </a:lnTo>
                <a:lnTo>
                  <a:pt x="48862" y="3347155"/>
                </a:lnTo>
                <a:lnTo>
                  <a:pt x="44629" y="3341864"/>
                </a:lnTo>
                <a:lnTo>
                  <a:pt x="40395" y="3336219"/>
                </a:lnTo>
                <a:lnTo>
                  <a:pt x="36514" y="3330751"/>
                </a:lnTo>
                <a:lnTo>
                  <a:pt x="32810" y="3324930"/>
                </a:lnTo>
                <a:lnTo>
                  <a:pt x="29282" y="3318933"/>
                </a:lnTo>
                <a:lnTo>
                  <a:pt x="25931" y="3312936"/>
                </a:lnTo>
                <a:lnTo>
                  <a:pt x="22932" y="3306939"/>
                </a:lnTo>
                <a:lnTo>
                  <a:pt x="19933" y="3300589"/>
                </a:lnTo>
                <a:lnTo>
                  <a:pt x="17287" y="3294415"/>
                </a:lnTo>
                <a:lnTo>
                  <a:pt x="14641" y="3288065"/>
                </a:lnTo>
                <a:lnTo>
                  <a:pt x="12348" y="3281715"/>
                </a:lnTo>
                <a:lnTo>
                  <a:pt x="10055" y="3275012"/>
                </a:lnTo>
                <a:lnTo>
                  <a:pt x="7938" y="3268662"/>
                </a:lnTo>
                <a:lnTo>
                  <a:pt x="6174" y="3261959"/>
                </a:lnTo>
                <a:lnTo>
                  <a:pt x="4763" y="3255080"/>
                </a:lnTo>
                <a:lnTo>
                  <a:pt x="3528" y="3248377"/>
                </a:lnTo>
                <a:lnTo>
                  <a:pt x="2293" y="3241675"/>
                </a:lnTo>
                <a:lnTo>
                  <a:pt x="1411" y="3234619"/>
                </a:lnTo>
                <a:lnTo>
                  <a:pt x="706" y="3227740"/>
                </a:lnTo>
                <a:lnTo>
                  <a:pt x="177" y="3220684"/>
                </a:lnTo>
                <a:lnTo>
                  <a:pt x="0" y="3213805"/>
                </a:lnTo>
                <a:lnTo>
                  <a:pt x="0" y="3206926"/>
                </a:lnTo>
                <a:lnTo>
                  <a:pt x="177" y="3199870"/>
                </a:lnTo>
                <a:lnTo>
                  <a:pt x="706" y="3192815"/>
                </a:lnTo>
                <a:lnTo>
                  <a:pt x="1411" y="3185759"/>
                </a:lnTo>
                <a:lnTo>
                  <a:pt x="2293" y="3178704"/>
                </a:lnTo>
                <a:lnTo>
                  <a:pt x="3528" y="3171472"/>
                </a:lnTo>
                <a:lnTo>
                  <a:pt x="4939" y="3164416"/>
                </a:lnTo>
                <a:lnTo>
                  <a:pt x="6703" y="3157361"/>
                </a:lnTo>
                <a:lnTo>
                  <a:pt x="8644" y="3150305"/>
                </a:lnTo>
                <a:lnTo>
                  <a:pt x="10760" y="3143426"/>
                </a:lnTo>
                <a:lnTo>
                  <a:pt x="13054" y="3136371"/>
                </a:lnTo>
                <a:lnTo>
                  <a:pt x="15876" y="3129491"/>
                </a:lnTo>
                <a:lnTo>
                  <a:pt x="19051" y="3122436"/>
                </a:lnTo>
                <a:lnTo>
                  <a:pt x="22050" y="3115557"/>
                </a:lnTo>
                <a:lnTo>
                  <a:pt x="25578" y="3108854"/>
                </a:lnTo>
                <a:lnTo>
                  <a:pt x="29282" y="3101975"/>
                </a:lnTo>
                <a:lnTo>
                  <a:pt x="894333" y="1605139"/>
                </a:lnTo>
                <a:lnTo>
                  <a:pt x="1759030" y="108479"/>
                </a:lnTo>
                <a:lnTo>
                  <a:pt x="1763087" y="101777"/>
                </a:lnTo>
                <a:lnTo>
                  <a:pt x="1767144" y="95250"/>
                </a:lnTo>
                <a:lnTo>
                  <a:pt x="1771554" y="89076"/>
                </a:lnTo>
                <a:lnTo>
                  <a:pt x="1775964" y="83079"/>
                </a:lnTo>
                <a:lnTo>
                  <a:pt x="1780727" y="77082"/>
                </a:lnTo>
                <a:lnTo>
                  <a:pt x="1785490" y="71438"/>
                </a:lnTo>
                <a:lnTo>
                  <a:pt x="1790605" y="66146"/>
                </a:lnTo>
                <a:lnTo>
                  <a:pt x="1795721" y="61031"/>
                </a:lnTo>
                <a:lnTo>
                  <a:pt x="1801013" y="55915"/>
                </a:lnTo>
                <a:lnTo>
                  <a:pt x="1806481" y="51153"/>
                </a:lnTo>
                <a:lnTo>
                  <a:pt x="1811949" y="46743"/>
                </a:lnTo>
                <a:lnTo>
                  <a:pt x="1817594" y="42157"/>
                </a:lnTo>
                <a:lnTo>
                  <a:pt x="1823239" y="38100"/>
                </a:lnTo>
                <a:lnTo>
                  <a:pt x="1829236" y="34220"/>
                </a:lnTo>
                <a:lnTo>
                  <a:pt x="1835234" y="30515"/>
                </a:lnTo>
                <a:lnTo>
                  <a:pt x="1841231" y="26988"/>
                </a:lnTo>
                <a:lnTo>
                  <a:pt x="1847581" y="23813"/>
                </a:lnTo>
                <a:lnTo>
                  <a:pt x="1853755" y="20638"/>
                </a:lnTo>
                <a:lnTo>
                  <a:pt x="1860106" y="17815"/>
                </a:lnTo>
                <a:lnTo>
                  <a:pt x="1866456" y="15170"/>
                </a:lnTo>
                <a:lnTo>
                  <a:pt x="1872982" y="12700"/>
                </a:lnTo>
                <a:lnTo>
                  <a:pt x="1879333" y="10583"/>
                </a:lnTo>
                <a:lnTo>
                  <a:pt x="1886036" y="8467"/>
                </a:lnTo>
                <a:lnTo>
                  <a:pt x="1892739" y="6703"/>
                </a:lnTo>
                <a:lnTo>
                  <a:pt x="1899442" y="5115"/>
                </a:lnTo>
                <a:lnTo>
                  <a:pt x="1906145" y="3704"/>
                </a:lnTo>
                <a:lnTo>
                  <a:pt x="1912848" y="2470"/>
                </a:lnTo>
                <a:lnTo>
                  <a:pt x="1919728" y="1588"/>
                </a:lnTo>
                <a:lnTo>
                  <a:pt x="1926607" y="706"/>
                </a:lnTo>
                <a:lnTo>
                  <a:pt x="1933310" y="353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833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A250257-30E5-444A-97E8-E25FA3C26F9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217245" y="1095375"/>
            <a:ext cx="3528000" cy="3529013"/>
          </a:xfrm>
          <a:solidFill>
            <a:srgbClr val="DCDE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95588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0" userDrawn="1">
          <p15:clr>
            <a:srgbClr val="9FCC3B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4DDD3A-D0EA-47E6-A8E0-D489FC68DF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97668" y="1103201"/>
            <a:ext cx="4062429" cy="218462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A250257-30E5-444A-97E8-E25FA3C26F9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83905" y="1103201"/>
            <a:ext cx="4065586" cy="218462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64674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12" userDrawn="1">
          <p15:clr>
            <a:srgbClr val="9FCC3B"/>
          </p15:clr>
        </p15:guide>
        <p15:guide id="2" pos="2948" userDrawn="1">
          <p15:clr>
            <a:srgbClr val="9FCC3B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4DDD3A-D0EA-47E6-A8E0-D489FC68DF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3405" y="1207679"/>
            <a:ext cx="2671244" cy="1649821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9AEE9DD-F7E7-428C-B548-3303111B630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1379" y="1207679"/>
            <a:ext cx="2671244" cy="1649821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35E0433D-1131-4C32-B1CA-E69ECE5360D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79353" y="1207679"/>
            <a:ext cx="2671244" cy="1649821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7354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8" userDrawn="1">
          <p15:clr>
            <a:srgbClr val="9FCC3B"/>
          </p15:clr>
        </p15:guide>
        <p15:guide id="2" pos="2040" userDrawn="1">
          <p15:clr>
            <a:srgbClr val="9FCC3B"/>
          </p15:clr>
        </p15:guide>
        <p15:guide id="3" pos="3723" userDrawn="1">
          <p15:clr>
            <a:srgbClr val="9FCC3B"/>
          </p15:clr>
        </p15:guide>
        <p15:guide id="4" pos="3828" userDrawn="1">
          <p15:clr>
            <a:srgbClr val="9FCC3B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4DDD3A-D0EA-47E6-A8E0-D489FC68DFB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00844" y="1169580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D34A9AF3-5F5E-451D-A64A-C5AFF462636E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2547384" y="1169580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862B7FA-8BE0-4779-B1C2-29FCB504D2C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693924" y="1169580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ECBC172E-38E5-4886-8EE3-6E7333DF76E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840464" y="1169580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35293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56" userDrawn="1">
          <p15:clr>
            <a:srgbClr val="9FCC3B"/>
          </p15:clr>
        </p15:guide>
        <p15:guide id="2" pos="1604" userDrawn="1">
          <p15:clr>
            <a:srgbClr val="9FCC3B"/>
          </p15:clr>
        </p15:guide>
        <p15:guide id="3" pos="2808" userDrawn="1">
          <p15:clr>
            <a:srgbClr val="9FCC3B"/>
          </p15:clr>
        </p15:guide>
        <p15:guide id="4" pos="4158" userDrawn="1">
          <p15:clr>
            <a:srgbClr val="9FCC3B"/>
          </p15:clr>
        </p15:guide>
        <p15:guide id="5" pos="2956" userDrawn="1">
          <p15:clr>
            <a:srgbClr val="9FCC3B"/>
          </p15:clr>
        </p15:guide>
        <p15:guide id="6" pos="4308" userDrawn="1">
          <p15:clr>
            <a:srgbClr val="9FCC3B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BA47A6-DFDC-427F-B104-CAEBB2185F2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9FC58B-B600-4B4B-A03B-6CFF034B1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4DDD3A-D0EA-47E6-A8E0-D489FC68DFB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5224342" y="1099840"/>
            <a:ext cx="1705888" cy="1705888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D34A9AF3-5F5E-451D-A64A-C5AFF462636E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7045690" y="1099840"/>
            <a:ext cx="1705888" cy="1705888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862B7FA-8BE0-4779-B1C2-29FCB504D2C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221228" y="2920059"/>
            <a:ext cx="1705888" cy="1705888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ECBC172E-38E5-4886-8EE3-6E7333DF76E4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042576" y="2920059"/>
            <a:ext cx="1705888" cy="1705888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57647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0" userDrawn="1">
          <p15:clr>
            <a:srgbClr val="9FCC3B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1056F-3819-4DCC-AA51-65780BBDE1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4C9C8C-ED59-491A-B7EB-F55E91E183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8495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96AD1FBD-99D3-47FF-9541-313C1572D2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3D60D1E-B991-42F9-B789-5163E9547B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875" y="1104900"/>
            <a:ext cx="1452563" cy="1450975"/>
          </a:xfrm>
          <a:prstGeom prst="roundRect">
            <a:avLst>
              <a:gd name="adj" fmla="val 2663"/>
            </a:avLst>
          </a:prstGeom>
          <a:blipFill>
            <a:blip r:embed="rId3"/>
            <a:srcRect/>
            <a:stretch>
              <a:fillRect t="-55" b="-55"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99428" y="1449206"/>
            <a:ext cx="3530175" cy="1754326"/>
          </a:xfrm>
        </p:spPr>
        <p:txBody>
          <a:bodyPr wrap="square" anchor="t">
            <a:spAutoFit/>
          </a:bodyPr>
          <a:lstStyle>
            <a:lvl1pPr algn="ctr">
              <a:lnSpc>
                <a:spcPct val="95000"/>
              </a:lnSpc>
              <a:defRPr sz="4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Google Shape;117;p20">
            <a:extLst>
              <a:ext uri="{FF2B5EF4-FFF2-40B4-BE49-F238E27FC236}">
                <a16:creationId xmlns:a16="http://schemas.microsoft.com/office/drawing/2014/main" id="{1268BE0C-6631-4BB2-BEFD-2F849AE2A9E6}"/>
              </a:ext>
            </a:extLst>
          </p:cNvPr>
          <p:cNvPicPr preferRelativeResize="0"/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2A4625-8FD5-4F05-AEB2-4DF8F5551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639" y="2683510"/>
            <a:ext cx="2766205" cy="246221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9F9CF5-C996-4BF3-ACCC-23A5A67C4B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5" y="3039836"/>
            <a:ext cx="2770188" cy="167097"/>
          </a:xfrm>
        </p:spPr>
        <p:txBody>
          <a:bodyPr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1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FC7D71-368A-4CCD-8A04-D04C05163C28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061268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&#10;&#10;Description automatically generated with medium confidence">
            <a:extLst>
              <a:ext uri="{FF2B5EF4-FFF2-40B4-BE49-F238E27FC236}">
                <a16:creationId xmlns:a16="http://schemas.microsoft.com/office/drawing/2014/main" id="{0A54222B-5360-4266-B176-F208822E8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54203CB-E869-4D76-A738-767676E45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BE75B8F-3A1F-4AA6-836F-10E3D8FC58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875" y="1215218"/>
            <a:ext cx="1332865" cy="1331408"/>
          </a:xfrm>
          <a:prstGeom prst="roundRect">
            <a:avLst>
              <a:gd name="adj" fmla="val 379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013CD6F-837D-4B5F-A84D-76A70D5446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639" y="2656667"/>
            <a:ext cx="2878009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DDBD7B2-B44E-430F-88CB-9A3F95DFF9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4" y="2913933"/>
            <a:ext cx="2882154" cy="151901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3D463B-768E-4B90-A46A-EF8892B2A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1" y="334800"/>
            <a:ext cx="4932084" cy="3508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36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95A4326E-06F0-4575-A66F-78457174D9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3D60D1E-B991-42F9-B789-5163E9547B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875" y="1212998"/>
            <a:ext cx="1332865" cy="1331408"/>
          </a:xfrm>
          <a:prstGeom prst="roundRect">
            <a:avLst>
              <a:gd name="adj" fmla="val 379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2A4625-8FD5-4F05-AEB2-4DF8F5551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639" y="2654447"/>
            <a:ext cx="2459517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9F9CF5-C996-4BF3-ACCC-23A5A67C4B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4" y="2911713"/>
            <a:ext cx="2463059" cy="151901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54203CB-E869-4D76-A738-767676E45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EF21EA9-1EB8-423F-927E-081CA6CB8F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791" y="2654447"/>
            <a:ext cx="2459517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6B1A464-A553-4577-8232-BA3B319964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56026" y="2911713"/>
            <a:ext cx="2463059" cy="151901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9A74927-4657-4AA6-B5B5-5CFC36FE9D1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160791" y="1212998"/>
            <a:ext cx="1332865" cy="1331408"/>
          </a:xfrm>
          <a:prstGeom prst="roundRect">
            <a:avLst>
              <a:gd name="adj" fmla="val 379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8DC9F-712D-46CC-9459-E6CF5EB4A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1" y="334800"/>
            <a:ext cx="6480256" cy="3508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52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Slide - Client Log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3AD395A-4517-47A5-976F-D7CF831BAE57}"/>
              </a:ext>
            </a:extLst>
          </p:cNvPr>
          <p:cNvGrpSpPr/>
          <p:nvPr userDrawn="1"/>
        </p:nvGrpSpPr>
        <p:grpSpPr>
          <a:xfrm>
            <a:off x="2513436" y="0"/>
            <a:ext cx="6630565" cy="5143500"/>
            <a:chOff x="2513436" y="0"/>
            <a:chExt cx="6630565" cy="51435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68877DB-5BC3-4E2D-841B-D6D5E9CFC1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13436" y="1"/>
              <a:ext cx="6630565" cy="5143499"/>
            </a:xfrm>
            <a:custGeom>
              <a:avLst/>
              <a:gdLst>
                <a:gd name="connsiteX0" fmla="*/ 3809946 w 6630565"/>
                <a:gd name="connsiteY0" fmla="*/ 0 h 5143499"/>
                <a:gd name="connsiteX1" fmla="*/ 5939987 w 6630565"/>
                <a:gd name="connsiteY1" fmla="*/ 0 h 5143499"/>
                <a:gd name="connsiteX2" fmla="*/ 6630565 w 6630565"/>
                <a:gd name="connsiteY2" fmla="*/ 4249649 h 5143499"/>
                <a:gd name="connsiteX3" fmla="*/ 6630565 w 6630565"/>
                <a:gd name="connsiteY3" fmla="*/ 5143499 h 5143499"/>
                <a:gd name="connsiteX4" fmla="*/ 3953157 w 6630565"/>
                <a:gd name="connsiteY4" fmla="*/ 5143499 h 5143499"/>
                <a:gd name="connsiteX5" fmla="*/ 298420 w 6630565"/>
                <a:gd name="connsiteY5" fmla="*/ 3758374 h 5143499"/>
                <a:gd name="connsiteX6" fmla="*/ 268578 w 6630565"/>
                <a:gd name="connsiteY6" fmla="*/ 3746216 h 5143499"/>
                <a:gd name="connsiteX7" fmla="*/ 239842 w 6630565"/>
                <a:gd name="connsiteY7" fmla="*/ 3731848 h 5143499"/>
                <a:gd name="connsiteX8" fmla="*/ 211105 w 6630565"/>
                <a:gd name="connsiteY8" fmla="*/ 3716374 h 5143499"/>
                <a:gd name="connsiteX9" fmla="*/ 186789 w 6630565"/>
                <a:gd name="connsiteY9" fmla="*/ 3697585 h 5143499"/>
                <a:gd name="connsiteX10" fmla="*/ 161368 w 6630565"/>
                <a:gd name="connsiteY10" fmla="*/ 3678795 h 5143499"/>
                <a:gd name="connsiteX11" fmla="*/ 139263 w 6630565"/>
                <a:gd name="connsiteY11" fmla="*/ 3658900 h 5143499"/>
                <a:gd name="connsiteX12" fmla="*/ 118263 w 6630565"/>
                <a:gd name="connsiteY12" fmla="*/ 3636795 h 5143499"/>
                <a:gd name="connsiteX13" fmla="*/ 98368 w 6630565"/>
                <a:gd name="connsiteY13" fmla="*/ 3613585 h 5143499"/>
                <a:gd name="connsiteX14" fmla="*/ 80684 w 6630565"/>
                <a:gd name="connsiteY14" fmla="*/ 3590374 h 5143499"/>
                <a:gd name="connsiteX15" fmla="*/ 65211 w 6630565"/>
                <a:gd name="connsiteY15" fmla="*/ 3564953 h 5143499"/>
                <a:gd name="connsiteX16" fmla="*/ 51948 w 6630565"/>
                <a:gd name="connsiteY16" fmla="*/ 3538427 h 5143499"/>
                <a:gd name="connsiteX17" fmla="*/ 38684 w 6630565"/>
                <a:gd name="connsiteY17" fmla="*/ 3513006 h 5143499"/>
                <a:gd name="connsiteX18" fmla="*/ 27632 w 6630565"/>
                <a:gd name="connsiteY18" fmla="*/ 3485375 h 5143499"/>
                <a:gd name="connsiteX19" fmla="*/ 18790 w 6630565"/>
                <a:gd name="connsiteY19" fmla="*/ 3457743 h 5143499"/>
                <a:gd name="connsiteX20" fmla="*/ 11053 w 6630565"/>
                <a:gd name="connsiteY20" fmla="*/ 3430112 h 5143499"/>
                <a:gd name="connsiteX21" fmla="*/ 5526 w 6630565"/>
                <a:gd name="connsiteY21" fmla="*/ 3400270 h 5143499"/>
                <a:gd name="connsiteX22" fmla="*/ 2211 w 6630565"/>
                <a:gd name="connsiteY22" fmla="*/ 3371533 h 5143499"/>
                <a:gd name="connsiteX23" fmla="*/ 0 w 6630565"/>
                <a:gd name="connsiteY23" fmla="*/ 3341691 h 5143499"/>
                <a:gd name="connsiteX24" fmla="*/ 0 w 6630565"/>
                <a:gd name="connsiteY24" fmla="*/ 3312954 h 5143499"/>
                <a:gd name="connsiteX25" fmla="*/ 1106 w 6630565"/>
                <a:gd name="connsiteY25" fmla="*/ 3284217 h 5143499"/>
                <a:gd name="connsiteX26" fmla="*/ 4421 w 6630565"/>
                <a:gd name="connsiteY26" fmla="*/ 3254375 h 5143499"/>
                <a:gd name="connsiteX27" fmla="*/ 9947 w 6630565"/>
                <a:gd name="connsiteY27" fmla="*/ 3225639 h 5143499"/>
                <a:gd name="connsiteX28" fmla="*/ 17684 w 6630565"/>
                <a:gd name="connsiteY28" fmla="*/ 3196902 h 5143499"/>
                <a:gd name="connsiteX29" fmla="*/ 26527 w 6630565"/>
                <a:gd name="connsiteY29" fmla="*/ 3169270 h 5143499"/>
                <a:gd name="connsiteX30" fmla="*/ 38684 w 6630565"/>
                <a:gd name="connsiteY30" fmla="*/ 3141639 h 5143499"/>
                <a:gd name="connsiteX31" fmla="*/ 50842 w 6630565"/>
                <a:gd name="connsiteY31" fmla="*/ 3114008 h 5143499"/>
                <a:gd name="connsiteX32" fmla="*/ 65211 w 6630565"/>
                <a:gd name="connsiteY32" fmla="*/ 3087481 h 5143499"/>
                <a:gd name="connsiteX33" fmla="*/ 81789 w 6630565"/>
                <a:gd name="connsiteY33" fmla="*/ 3062060 h 5143499"/>
                <a:gd name="connsiteX34" fmla="*/ 101684 w 6630565"/>
                <a:gd name="connsiteY34" fmla="*/ 3036639 h 5143499"/>
                <a:gd name="connsiteX35" fmla="*/ 122684 w 6630565"/>
                <a:gd name="connsiteY35" fmla="*/ 3013429 h 5143499"/>
                <a:gd name="connsiteX36" fmla="*/ 144789 w 6630565"/>
                <a:gd name="connsiteY36" fmla="*/ 2990218 h 5143499"/>
                <a:gd name="connsiteX37" fmla="*/ 170210 w 6630565"/>
                <a:gd name="connsiteY37" fmla="*/ 2968113 h 514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630565" h="5143499">
                  <a:moveTo>
                    <a:pt x="3809946" y="0"/>
                  </a:moveTo>
                  <a:lnTo>
                    <a:pt x="5939987" y="0"/>
                  </a:lnTo>
                  <a:lnTo>
                    <a:pt x="6630565" y="4249649"/>
                  </a:lnTo>
                  <a:lnTo>
                    <a:pt x="6630565" y="5143499"/>
                  </a:lnTo>
                  <a:lnTo>
                    <a:pt x="3953157" y="5143499"/>
                  </a:lnTo>
                  <a:lnTo>
                    <a:pt x="298420" y="3758374"/>
                  </a:lnTo>
                  <a:lnTo>
                    <a:pt x="268578" y="3746216"/>
                  </a:lnTo>
                  <a:lnTo>
                    <a:pt x="239842" y="3731848"/>
                  </a:lnTo>
                  <a:lnTo>
                    <a:pt x="211105" y="3716374"/>
                  </a:lnTo>
                  <a:lnTo>
                    <a:pt x="186789" y="3697585"/>
                  </a:lnTo>
                  <a:lnTo>
                    <a:pt x="161368" y="3678795"/>
                  </a:lnTo>
                  <a:lnTo>
                    <a:pt x="139263" y="3658900"/>
                  </a:lnTo>
                  <a:lnTo>
                    <a:pt x="118263" y="3636795"/>
                  </a:lnTo>
                  <a:lnTo>
                    <a:pt x="98368" y="3613585"/>
                  </a:lnTo>
                  <a:lnTo>
                    <a:pt x="80684" y="3590374"/>
                  </a:lnTo>
                  <a:lnTo>
                    <a:pt x="65211" y="3564953"/>
                  </a:lnTo>
                  <a:lnTo>
                    <a:pt x="51948" y="3538427"/>
                  </a:lnTo>
                  <a:lnTo>
                    <a:pt x="38684" y="3513006"/>
                  </a:lnTo>
                  <a:lnTo>
                    <a:pt x="27632" y="3485375"/>
                  </a:lnTo>
                  <a:lnTo>
                    <a:pt x="18790" y="3457743"/>
                  </a:lnTo>
                  <a:lnTo>
                    <a:pt x="11053" y="3430112"/>
                  </a:lnTo>
                  <a:lnTo>
                    <a:pt x="5526" y="3400270"/>
                  </a:lnTo>
                  <a:lnTo>
                    <a:pt x="2211" y="3371533"/>
                  </a:lnTo>
                  <a:lnTo>
                    <a:pt x="0" y="3341691"/>
                  </a:lnTo>
                  <a:lnTo>
                    <a:pt x="0" y="3312954"/>
                  </a:lnTo>
                  <a:lnTo>
                    <a:pt x="1106" y="3284217"/>
                  </a:lnTo>
                  <a:lnTo>
                    <a:pt x="4421" y="3254375"/>
                  </a:lnTo>
                  <a:lnTo>
                    <a:pt x="9947" y="3225639"/>
                  </a:lnTo>
                  <a:lnTo>
                    <a:pt x="17684" y="3196902"/>
                  </a:lnTo>
                  <a:lnTo>
                    <a:pt x="26527" y="3169270"/>
                  </a:lnTo>
                  <a:lnTo>
                    <a:pt x="38684" y="3141639"/>
                  </a:lnTo>
                  <a:lnTo>
                    <a:pt x="50842" y="3114008"/>
                  </a:lnTo>
                  <a:lnTo>
                    <a:pt x="65211" y="3087481"/>
                  </a:lnTo>
                  <a:lnTo>
                    <a:pt x="81789" y="3062060"/>
                  </a:lnTo>
                  <a:lnTo>
                    <a:pt x="101684" y="3036639"/>
                  </a:lnTo>
                  <a:lnTo>
                    <a:pt x="122684" y="3013429"/>
                  </a:lnTo>
                  <a:lnTo>
                    <a:pt x="144789" y="2990218"/>
                  </a:lnTo>
                  <a:lnTo>
                    <a:pt x="170210" y="2968113"/>
                  </a:lnTo>
                  <a:close/>
                </a:path>
              </a:pathLst>
            </a:custGeom>
            <a:solidFill>
              <a:srgbClr val="6E37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7DB4113-A8D1-41F6-AEAC-31E45F7389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9855" y="1"/>
              <a:ext cx="6374145" cy="5143499"/>
            </a:xfrm>
            <a:custGeom>
              <a:avLst/>
              <a:gdLst>
                <a:gd name="connsiteX0" fmla="*/ 3735886 w 6374145"/>
                <a:gd name="connsiteY0" fmla="*/ 0 h 5143499"/>
                <a:gd name="connsiteX1" fmla="*/ 5828652 w 6374145"/>
                <a:gd name="connsiteY1" fmla="*/ 0 h 5143499"/>
                <a:gd name="connsiteX2" fmla="*/ 6374145 w 6374145"/>
                <a:gd name="connsiteY2" fmla="*/ 3353266 h 5143499"/>
                <a:gd name="connsiteX3" fmla="*/ 6374145 w 6374145"/>
                <a:gd name="connsiteY3" fmla="*/ 5143499 h 5143499"/>
                <a:gd name="connsiteX4" fmla="*/ 4180076 w 6374145"/>
                <a:gd name="connsiteY4" fmla="*/ 5143499 h 5143499"/>
                <a:gd name="connsiteX5" fmla="*/ 285204 w 6374145"/>
                <a:gd name="connsiteY5" fmla="*/ 3668848 h 5143499"/>
                <a:gd name="connsiteX6" fmla="*/ 257568 w 6374145"/>
                <a:gd name="connsiteY6" fmla="*/ 3656690 h 5143499"/>
                <a:gd name="connsiteX7" fmla="*/ 228827 w 6374145"/>
                <a:gd name="connsiteY7" fmla="*/ 3642321 h 5143499"/>
                <a:gd name="connsiteX8" fmla="*/ 203402 w 6374145"/>
                <a:gd name="connsiteY8" fmla="*/ 3626848 h 5143499"/>
                <a:gd name="connsiteX9" fmla="*/ 179082 w 6374145"/>
                <a:gd name="connsiteY9" fmla="*/ 3610269 h 5143499"/>
                <a:gd name="connsiteX10" fmla="*/ 154762 w 6374145"/>
                <a:gd name="connsiteY10" fmla="*/ 3591479 h 5143499"/>
                <a:gd name="connsiteX11" fmla="*/ 133759 w 6374145"/>
                <a:gd name="connsiteY11" fmla="*/ 3572690 h 5143499"/>
                <a:gd name="connsiteX12" fmla="*/ 113861 w 6374145"/>
                <a:gd name="connsiteY12" fmla="*/ 3550585 h 5143499"/>
                <a:gd name="connsiteX13" fmla="*/ 95068 w 6374145"/>
                <a:gd name="connsiteY13" fmla="*/ 3529585 h 5143499"/>
                <a:gd name="connsiteX14" fmla="*/ 78486 w 6374145"/>
                <a:gd name="connsiteY14" fmla="*/ 3507480 h 5143499"/>
                <a:gd name="connsiteX15" fmla="*/ 63011 w 6374145"/>
                <a:gd name="connsiteY15" fmla="*/ 3482059 h 5143499"/>
                <a:gd name="connsiteX16" fmla="*/ 49745 w 6374145"/>
                <a:gd name="connsiteY16" fmla="*/ 3457743 h 5143499"/>
                <a:gd name="connsiteX17" fmla="*/ 36480 w 6374145"/>
                <a:gd name="connsiteY17" fmla="*/ 3433427 h 5143499"/>
                <a:gd name="connsiteX18" fmla="*/ 26531 w 6374145"/>
                <a:gd name="connsiteY18" fmla="*/ 3406901 h 5143499"/>
                <a:gd name="connsiteX19" fmla="*/ 17687 w 6374145"/>
                <a:gd name="connsiteY19" fmla="*/ 3380375 h 5143499"/>
                <a:gd name="connsiteX20" fmla="*/ 11055 w 6374145"/>
                <a:gd name="connsiteY20" fmla="*/ 3353849 h 5143499"/>
                <a:gd name="connsiteX21" fmla="*/ 5528 w 6374145"/>
                <a:gd name="connsiteY21" fmla="*/ 3326217 h 5143499"/>
                <a:gd name="connsiteX22" fmla="*/ 2211 w 6374145"/>
                <a:gd name="connsiteY22" fmla="*/ 3298586 h 5143499"/>
                <a:gd name="connsiteX23" fmla="*/ 0 w 6374145"/>
                <a:gd name="connsiteY23" fmla="*/ 3269849 h 5143499"/>
                <a:gd name="connsiteX24" fmla="*/ 0 w 6374145"/>
                <a:gd name="connsiteY24" fmla="*/ 3242217 h 5143499"/>
                <a:gd name="connsiteX25" fmla="*/ 2211 w 6374145"/>
                <a:gd name="connsiteY25" fmla="*/ 3214586 h 5143499"/>
                <a:gd name="connsiteX26" fmla="*/ 5528 w 6374145"/>
                <a:gd name="connsiteY26" fmla="*/ 3185849 h 5143499"/>
                <a:gd name="connsiteX27" fmla="*/ 9949 w 6374145"/>
                <a:gd name="connsiteY27" fmla="*/ 3159323 h 5143499"/>
                <a:gd name="connsiteX28" fmla="*/ 16582 w 6374145"/>
                <a:gd name="connsiteY28" fmla="*/ 3131691 h 5143499"/>
                <a:gd name="connsiteX29" fmla="*/ 25426 w 6374145"/>
                <a:gd name="connsiteY29" fmla="*/ 3104060 h 5143499"/>
                <a:gd name="connsiteX30" fmla="*/ 36480 w 6374145"/>
                <a:gd name="connsiteY30" fmla="*/ 3078639 h 5143499"/>
                <a:gd name="connsiteX31" fmla="*/ 49745 w 6374145"/>
                <a:gd name="connsiteY31" fmla="*/ 3051007 h 5143499"/>
                <a:gd name="connsiteX32" fmla="*/ 63011 w 6374145"/>
                <a:gd name="connsiteY32" fmla="*/ 3026692 h 5143499"/>
                <a:gd name="connsiteX33" fmla="*/ 79592 w 6374145"/>
                <a:gd name="connsiteY33" fmla="*/ 3002376 h 5143499"/>
                <a:gd name="connsiteX34" fmla="*/ 97279 w 6374145"/>
                <a:gd name="connsiteY34" fmla="*/ 2978060 h 5143499"/>
                <a:gd name="connsiteX35" fmla="*/ 117177 w 6374145"/>
                <a:gd name="connsiteY35" fmla="*/ 2954850 h 5143499"/>
                <a:gd name="connsiteX36" fmla="*/ 139286 w 6374145"/>
                <a:gd name="connsiteY36" fmla="*/ 2933850 h 5143499"/>
                <a:gd name="connsiteX37" fmla="*/ 162500 w 6374145"/>
                <a:gd name="connsiteY37" fmla="*/ 2911745 h 514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74145" h="5143499">
                  <a:moveTo>
                    <a:pt x="3735886" y="0"/>
                  </a:moveTo>
                  <a:lnTo>
                    <a:pt x="5828652" y="0"/>
                  </a:lnTo>
                  <a:lnTo>
                    <a:pt x="6374145" y="3353266"/>
                  </a:lnTo>
                  <a:lnTo>
                    <a:pt x="6374145" y="5143499"/>
                  </a:lnTo>
                  <a:lnTo>
                    <a:pt x="4180076" y="5143499"/>
                  </a:lnTo>
                  <a:lnTo>
                    <a:pt x="285204" y="3668848"/>
                  </a:lnTo>
                  <a:lnTo>
                    <a:pt x="257568" y="3656690"/>
                  </a:lnTo>
                  <a:lnTo>
                    <a:pt x="228827" y="3642321"/>
                  </a:lnTo>
                  <a:lnTo>
                    <a:pt x="203402" y="3626848"/>
                  </a:lnTo>
                  <a:lnTo>
                    <a:pt x="179082" y="3610269"/>
                  </a:lnTo>
                  <a:lnTo>
                    <a:pt x="154762" y="3591479"/>
                  </a:lnTo>
                  <a:lnTo>
                    <a:pt x="133759" y="3572690"/>
                  </a:lnTo>
                  <a:lnTo>
                    <a:pt x="113861" y="3550585"/>
                  </a:lnTo>
                  <a:lnTo>
                    <a:pt x="95068" y="3529585"/>
                  </a:lnTo>
                  <a:lnTo>
                    <a:pt x="78486" y="3507480"/>
                  </a:lnTo>
                  <a:lnTo>
                    <a:pt x="63011" y="3482059"/>
                  </a:lnTo>
                  <a:lnTo>
                    <a:pt x="49745" y="3457743"/>
                  </a:lnTo>
                  <a:lnTo>
                    <a:pt x="36480" y="3433427"/>
                  </a:lnTo>
                  <a:lnTo>
                    <a:pt x="26531" y="3406901"/>
                  </a:lnTo>
                  <a:lnTo>
                    <a:pt x="17687" y="3380375"/>
                  </a:lnTo>
                  <a:lnTo>
                    <a:pt x="11055" y="3353849"/>
                  </a:lnTo>
                  <a:lnTo>
                    <a:pt x="5528" y="3326217"/>
                  </a:lnTo>
                  <a:lnTo>
                    <a:pt x="2211" y="3298586"/>
                  </a:lnTo>
                  <a:lnTo>
                    <a:pt x="0" y="3269849"/>
                  </a:lnTo>
                  <a:lnTo>
                    <a:pt x="0" y="3242217"/>
                  </a:lnTo>
                  <a:lnTo>
                    <a:pt x="2211" y="3214586"/>
                  </a:lnTo>
                  <a:lnTo>
                    <a:pt x="5528" y="3185849"/>
                  </a:lnTo>
                  <a:lnTo>
                    <a:pt x="9949" y="3159323"/>
                  </a:lnTo>
                  <a:lnTo>
                    <a:pt x="16582" y="3131691"/>
                  </a:lnTo>
                  <a:lnTo>
                    <a:pt x="25426" y="3104060"/>
                  </a:lnTo>
                  <a:lnTo>
                    <a:pt x="36480" y="3078639"/>
                  </a:lnTo>
                  <a:lnTo>
                    <a:pt x="49745" y="3051007"/>
                  </a:lnTo>
                  <a:lnTo>
                    <a:pt x="63011" y="3026692"/>
                  </a:lnTo>
                  <a:lnTo>
                    <a:pt x="79592" y="3002376"/>
                  </a:lnTo>
                  <a:lnTo>
                    <a:pt x="97279" y="2978060"/>
                  </a:lnTo>
                  <a:lnTo>
                    <a:pt x="117177" y="2954850"/>
                  </a:lnTo>
                  <a:lnTo>
                    <a:pt x="139286" y="2933850"/>
                  </a:lnTo>
                  <a:lnTo>
                    <a:pt x="162500" y="2911745"/>
                  </a:lnTo>
                  <a:close/>
                </a:path>
              </a:pathLst>
            </a:custGeom>
            <a:solidFill>
              <a:srgbClr val="5E4A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4D1C08B-1A59-4D36-A5B2-5BFF4B221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28486" y="0"/>
              <a:ext cx="6115514" cy="5143499"/>
            </a:xfrm>
            <a:custGeom>
              <a:avLst/>
              <a:gdLst>
                <a:gd name="connsiteX0" fmla="*/ 3656923 w 6115514"/>
                <a:gd name="connsiteY0" fmla="*/ 0 h 5143499"/>
                <a:gd name="connsiteX1" fmla="*/ 5715119 w 6115514"/>
                <a:gd name="connsiteY1" fmla="*/ 0 h 5143499"/>
                <a:gd name="connsiteX2" fmla="*/ 6115514 w 6115514"/>
                <a:gd name="connsiteY2" fmla="*/ 2461791 h 5143499"/>
                <a:gd name="connsiteX3" fmla="*/ 6115514 w 6115514"/>
                <a:gd name="connsiteY3" fmla="*/ 5143499 h 5143499"/>
                <a:gd name="connsiteX4" fmla="*/ 4407706 w 6115514"/>
                <a:gd name="connsiteY4" fmla="*/ 5143499 h 5143499"/>
                <a:gd name="connsiteX5" fmla="*/ 271940 w 6115514"/>
                <a:gd name="connsiteY5" fmla="*/ 3577111 h 5143499"/>
                <a:gd name="connsiteX6" fmla="*/ 243198 w 6115514"/>
                <a:gd name="connsiteY6" fmla="*/ 3564953 h 5143499"/>
                <a:gd name="connsiteX7" fmla="*/ 217773 w 6115514"/>
                <a:gd name="connsiteY7" fmla="*/ 3551690 h 5143499"/>
                <a:gd name="connsiteX8" fmla="*/ 193453 w 6115514"/>
                <a:gd name="connsiteY8" fmla="*/ 3537322 h 5143499"/>
                <a:gd name="connsiteX9" fmla="*/ 169133 w 6115514"/>
                <a:gd name="connsiteY9" fmla="*/ 3520743 h 5143499"/>
                <a:gd name="connsiteX10" fmla="*/ 147025 w 6115514"/>
                <a:gd name="connsiteY10" fmla="*/ 3504164 h 5143499"/>
                <a:gd name="connsiteX11" fmla="*/ 127126 w 6115514"/>
                <a:gd name="connsiteY11" fmla="*/ 3484270 h 5143499"/>
                <a:gd name="connsiteX12" fmla="*/ 107228 w 6115514"/>
                <a:gd name="connsiteY12" fmla="*/ 3465480 h 5143499"/>
                <a:gd name="connsiteX13" fmla="*/ 89541 w 6115514"/>
                <a:gd name="connsiteY13" fmla="*/ 3444480 h 5143499"/>
                <a:gd name="connsiteX14" fmla="*/ 74065 w 6115514"/>
                <a:gd name="connsiteY14" fmla="*/ 3423480 h 5143499"/>
                <a:gd name="connsiteX15" fmla="*/ 59694 w 6115514"/>
                <a:gd name="connsiteY15" fmla="*/ 3399165 h 5143499"/>
                <a:gd name="connsiteX16" fmla="*/ 46429 w 6115514"/>
                <a:gd name="connsiteY16" fmla="*/ 3375954 h 5143499"/>
                <a:gd name="connsiteX17" fmla="*/ 34269 w 6115514"/>
                <a:gd name="connsiteY17" fmla="*/ 3352744 h 5143499"/>
                <a:gd name="connsiteX18" fmla="*/ 25426 w 6115514"/>
                <a:gd name="connsiteY18" fmla="*/ 3327323 h 5143499"/>
                <a:gd name="connsiteX19" fmla="*/ 16582 w 6115514"/>
                <a:gd name="connsiteY19" fmla="*/ 3301902 h 5143499"/>
                <a:gd name="connsiteX20" fmla="*/ 9949 w 6115514"/>
                <a:gd name="connsiteY20" fmla="*/ 3276481 h 5143499"/>
                <a:gd name="connsiteX21" fmla="*/ 5528 w 6115514"/>
                <a:gd name="connsiteY21" fmla="*/ 3249954 h 5143499"/>
                <a:gd name="connsiteX22" fmla="*/ 2211 w 6115514"/>
                <a:gd name="connsiteY22" fmla="*/ 3223428 h 5143499"/>
                <a:gd name="connsiteX23" fmla="*/ 0 w 6115514"/>
                <a:gd name="connsiteY23" fmla="*/ 3196902 h 5143499"/>
                <a:gd name="connsiteX24" fmla="*/ 0 w 6115514"/>
                <a:gd name="connsiteY24" fmla="*/ 3170376 h 5143499"/>
                <a:gd name="connsiteX25" fmla="*/ 1106 w 6115514"/>
                <a:gd name="connsiteY25" fmla="*/ 3143850 h 5143499"/>
                <a:gd name="connsiteX26" fmla="*/ 4422 w 6115514"/>
                <a:gd name="connsiteY26" fmla="*/ 3117323 h 5143499"/>
                <a:gd name="connsiteX27" fmla="*/ 8844 w 6115514"/>
                <a:gd name="connsiteY27" fmla="*/ 3090797 h 5143499"/>
                <a:gd name="connsiteX28" fmla="*/ 15477 w 6115514"/>
                <a:gd name="connsiteY28" fmla="*/ 3065376 h 5143499"/>
                <a:gd name="connsiteX29" fmla="*/ 24320 w 6115514"/>
                <a:gd name="connsiteY29" fmla="*/ 3038850 h 5143499"/>
                <a:gd name="connsiteX30" fmla="*/ 34269 w 6115514"/>
                <a:gd name="connsiteY30" fmla="*/ 3013429 h 5143499"/>
                <a:gd name="connsiteX31" fmla="*/ 45324 w 6115514"/>
                <a:gd name="connsiteY31" fmla="*/ 2989113 h 5143499"/>
                <a:gd name="connsiteX32" fmla="*/ 59694 w 6115514"/>
                <a:gd name="connsiteY32" fmla="*/ 2964797 h 5143499"/>
                <a:gd name="connsiteX33" fmla="*/ 75170 w 6115514"/>
                <a:gd name="connsiteY33" fmla="*/ 2941587 h 5143499"/>
                <a:gd name="connsiteX34" fmla="*/ 91752 w 6115514"/>
                <a:gd name="connsiteY34" fmla="*/ 2919482 h 5143499"/>
                <a:gd name="connsiteX35" fmla="*/ 110545 w 6115514"/>
                <a:gd name="connsiteY35" fmla="*/ 2896271 h 5143499"/>
                <a:gd name="connsiteX36" fmla="*/ 132654 w 6115514"/>
                <a:gd name="connsiteY36" fmla="*/ 2876377 h 5143499"/>
                <a:gd name="connsiteX37" fmla="*/ 154762 w 6115514"/>
                <a:gd name="connsiteY37" fmla="*/ 2856482 h 514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115514" h="5143499">
                  <a:moveTo>
                    <a:pt x="3656923" y="0"/>
                  </a:moveTo>
                  <a:lnTo>
                    <a:pt x="5715119" y="0"/>
                  </a:lnTo>
                  <a:lnTo>
                    <a:pt x="6115514" y="2461791"/>
                  </a:lnTo>
                  <a:lnTo>
                    <a:pt x="6115514" y="5143499"/>
                  </a:lnTo>
                  <a:lnTo>
                    <a:pt x="4407706" y="5143499"/>
                  </a:lnTo>
                  <a:lnTo>
                    <a:pt x="271940" y="3577111"/>
                  </a:lnTo>
                  <a:lnTo>
                    <a:pt x="243198" y="3564953"/>
                  </a:lnTo>
                  <a:lnTo>
                    <a:pt x="217773" y="3551690"/>
                  </a:lnTo>
                  <a:lnTo>
                    <a:pt x="193453" y="3537322"/>
                  </a:lnTo>
                  <a:lnTo>
                    <a:pt x="169133" y="3520743"/>
                  </a:lnTo>
                  <a:lnTo>
                    <a:pt x="147025" y="3504164"/>
                  </a:lnTo>
                  <a:lnTo>
                    <a:pt x="127126" y="3484270"/>
                  </a:lnTo>
                  <a:lnTo>
                    <a:pt x="107228" y="3465480"/>
                  </a:lnTo>
                  <a:lnTo>
                    <a:pt x="89541" y="3444480"/>
                  </a:lnTo>
                  <a:lnTo>
                    <a:pt x="74065" y="3423480"/>
                  </a:lnTo>
                  <a:lnTo>
                    <a:pt x="59694" y="3399165"/>
                  </a:lnTo>
                  <a:lnTo>
                    <a:pt x="46429" y="3375954"/>
                  </a:lnTo>
                  <a:lnTo>
                    <a:pt x="34269" y="3352744"/>
                  </a:lnTo>
                  <a:lnTo>
                    <a:pt x="25426" y="3327323"/>
                  </a:lnTo>
                  <a:lnTo>
                    <a:pt x="16582" y="3301902"/>
                  </a:lnTo>
                  <a:lnTo>
                    <a:pt x="9949" y="3276481"/>
                  </a:lnTo>
                  <a:lnTo>
                    <a:pt x="5528" y="3249954"/>
                  </a:lnTo>
                  <a:lnTo>
                    <a:pt x="2211" y="3223428"/>
                  </a:lnTo>
                  <a:lnTo>
                    <a:pt x="0" y="3196902"/>
                  </a:lnTo>
                  <a:lnTo>
                    <a:pt x="0" y="3170376"/>
                  </a:lnTo>
                  <a:lnTo>
                    <a:pt x="1106" y="3143850"/>
                  </a:lnTo>
                  <a:lnTo>
                    <a:pt x="4422" y="3117323"/>
                  </a:lnTo>
                  <a:lnTo>
                    <a:pt x="8844" y="3090797"/>
                  </a:lnTo>
                  <a:lnTo>
                    <a:pt x="15477" y="3065376"/>
                  </a:lnTo>
                  <a:lnTo>
                    <a:pt x="24320" y="3038850"/>
                  </a:lnTo>
                  <a:lnTo>
                    <a:pt x="34269" y="3013429"/>
                  </a:lnTo>
                  <a:lnTo>
                    <a:pt x="45324" y="2989113"/>
                  </a:lnTo>
                  <a:lnTo>
                    <a:pt x="59694" y="2964797"/>
                  </a:lnTo>
                  <a:lnTo>
                    <a:pt x="75170" y="2941587"/>
                  </a:lnTo>
                  <a:lnTo>
                    <a:pt x="91752" y="2919482"/>
                  </a:lnTo>
                  <a:lnTo>
                    <a:pt x="110545" y="2896271"/>
                  </a:lnTo>
                  <a:lnTo>
                    <a:pt x="132654" y="2876377"/>
                  </a:lnTo>
                  <a:lnTo>
                    <a:pt x="154762" y="2856482"/>
                  </a:lnTo>
                  <a:close/>
                </a:path>
              </a:pathLst>
            </a:custGeom>
            <a:solidFill>
              <a:srgbClr val="4E5D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CBD75AE-01B5-4235-9CE2-774A143014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87118" y="0"/>
              <a:ext cx="5856883" cy="5143499"/>
            </a:xfrm>
            <a:custGeom>
              <a:avLst/>
              <a:gdLst>
                <a:gd name="connsiteX0" fmla="*/ 3578799 w 5856883"/>
                <a:gd name="connsiteY0" fmla="*/ 0 h 5143499"/>
                <a:gd name="connsiteX1" fmla="*/ 5601939 w 5856883"/>
                <a:gd name="connsiteY1" fmla="*/ 0 h 5143499"/>
                <a:gd name="connsiteX2" fmla="*/ 5856883 w 5856883"/>
                <a:gd name="connsiteY2" fmla="*/ 1567826 h 5143499"/>
                <a:gd name="connsiteX3" fmla="*/ 5856883 w 5856883"/>
                <a:gd name="connsiteY3" fmla="*/ 5143499 h 5143499"/>
                <a:gd name="connsiteX4" fmla="*/ 4643720 w 5856883"/>
                <a:gd name="connsiteY4" fmla="*/ 5143499 h 5143499"/>
                <a:gd name="connsiteX5" fmla="*/ 258631 w 5856883"/>
                <a:gd name="connsiteY5" fmla="*/ 3482414 h 5143499"/>
                <a:gd name="connsiteX6" fmla="*/ 232105 w 5856883"/>
                <a:gd name="connsiteY6" fmla="*/ 3471363 h 5143499"/>
                <a:gd name="connsiteX7" fmla="*/ 207789 w 5856883"/>
                <a:gd name="connsiteY7" fmla="*/ 3459207 h 5143499"/>
                <a:gd name="connsiteX8" fmla="*/ 183473 w 5856883"/>
                <a:gd name="connsiteY8" fmla="*/ 3445946 h 5143499"/>
                <a:gd name="connsiteX9" fmla="*/ 161368 w 5856883"/>
                <a:gd name="connsiteY9" fmla="*/ 3430475 h 5143499"/>
                <a:gd name="connsiteX10" fmla="*/ 140368 w 5856883"/>
                <a:gd name="connsiteY10" fmla="*/ 3412794 h 5143499"/>
                <a:gd name="connsiteX11" fmla="*/ 120474 w 5856883"/>
                <a:gd name="connsiteY11" fmla="*/ 3395112 h 5143499"/>
                <a:gd name="connsiteX12" fmla="*/ 102789 w 5856883"/>
                <a:gd name="connsiteY12" fmla="*/ 3377431 h 5143499"/>
                <a:gd name="connsiteX13" fmla="*/ 86210 w 5856883"/>
                <a:gd name="connsiteY13" fmla="*/ 3357540 h 5143499"/>
                <a:gd name="connsiteX14" fmla="*/ 70737 w 5856883"/>
                <a:gd name="connsiteY14" fmla="*/ 3336543 h 5143499"/>
                <a:gd name="connsiteX15" fmla="*/ 56368 w 5856883"/>
                <a:gd name="connsiteY15" fmla="*/ 3314442 h 5143499"/>
                <a:gd name="connsiteX16" fmla="*/ 44211 w 5856883"/>
                <a:gd name="connsiteY16" fmla="*/ 3292340 h 5143499"/>
                <a:gd name="connsiteX17" fmla="*/ 33158 w 5856883"/>
                <a:gd name="connsiteY17" fmla="*/ 3269133 h 5143499"/>
                <a:gd name="connsiteX18" fmla="*/ 24316 w 5856883"/>
                <a:gd name="connsiteY18" fmla="*/ 3245927 h 5143499"/>
                <a:gd name="connsiteX19" fmla="*/ 16579 w 5856883"/>
                <a:gd name="connsiteY19" fmla="*/ 3221615 h 5143499"/>
                <a:gd name="connsiteX20" fmla="*/ 9947 w 5856883"/>
                <a:gd name="connsiteY20" fmla="*/ 3197303 h 5143499"/>
                <a:gd name="connsiteX21" fmla="*/ 5527 w 5856883"/>
                <a:gd name="connsiteY21" fmla="*/ 3171887 h 5143499"/>
                <a:gd name="connsiteX22" fmla="*/ 2211 w 5856883"/>
                <a:gd name="connsiteY22" fmla="*/ 3147575 h 5143499"/>
                <a:gd name="connsiteX23" fmla="*/ 1105 w 5856883"/>
                <a:gd name="connsiteY23" fmla="*/ 3122158 h 5143499"/>
                <a:gd name="connsiteX24" fmla="*/ 0 w 5856883"/>
                <a:gd name="connsiteY24" fmla="*/ 3096741 h 5143499"/>
                <a:gd name="connsiteX25" fmla="*/ 2211 w 5856883"/>
                <a:gd name="connsiteY25" fmla="*/ 3071324 h 5143499"/>
                <a:gd name="connsiteX26" fmla="*/ 4421 w 5856883"/>
                <a:gd name="connsiteY26" fmla="*/ 3045907 h 5143499"/>
                <a:gd name="connsiteX27" fmla="*/ 9947 w 5856883"/>
                <a:gd name="connsiteY27" fmla="*/ 3020491 h 5143499"/>
                <a:gd name="connsiteX28" fmla="*/ 15474 w 5856883"/>
                <a:gd name="connsiteY28" fmla="*/ 2996179 h 5143499"/>
                <a:gd name="connsiteX29" fmla="*/ 23211 w 5856883"/>
                <a:gd name="connsiteY29" fmla="*/ 2970762 h 5143499"/>
                <a:gd name="connsiteX30" fmla="*/ 33158 w 5856883"/>
                <a:gd name="connsiteY30" fmla="*/ 2947555 h 5143499"/>
                <a:gd name="connsiteX31" fmla="*/ 44211 w 5856883"/>
                <a:gd name="connsiteY31" fmla="*/ 2924349 h 5143499"/>
                <a:gd name="connsiteX32" fmla="*/ 56368 w 5856883"/>
                <a:gd name="connsiteY32" fmla="*/ 2900037 h 5143499"/>
                <a:gd name="connsiteX33" fmla="*/ 71842 w 5856883"/>
                <a:gd name="connsiteY33" fmla="*/ 2879041 h 5143499"/>
                <a:gd name="connsiteX34" fmla="*/ 88421 w 5856883"/>
                <a:gd name="connsiteY34" fmla="*/ 2856939 h 5143499"/>
                <a:gd name="connsiteX35" fmla="*/ 106105 w 5856883"/>
                <a:gd name="connsiteY35" fmla="*/ 2835942 h 5143499"/>
                <a:gd name="connsiteX36" fmla="*/ 126000 w 5856883"/>
                <a:gd name="connsiteY36" fmla="*/ 2816051 h 5143499"/>
                <a:gd name="connsiteX37" fmla="*/ 148105 w 5856883"/>
                <a:gd name="connsiteY37" fmla="*/ 2797265 h 514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856883" h="5143499">
                  <a:moveTo>
                    <a:pt x="3578799" y="0"/>
                  </a:moveTo>
                  <a:lnTo>
                    <a:pt x="5601939" y="0"/>
                  </a:lnTo>
                  <a:lnTo>
                    <a:pt x="5856883" y="1567826"/>
                  </a:lnTo>
                  <a:lnTo>
                    <a:pt x="5856883" y="5143499"/>
                  </a:lnTo>
                  <a:lnTo>
                    <a:pt x="4643720" y="5143499"/>
                  </a:lnTo>
                  <a:lnTo>
                    <a:pt x="258631" y="3482414"/>
                  </a:lnTo>
                  <a:lnTo>
                    <a:pt x="232105" y="3471363"/>
                  </a:lnTo>
                  <a:lnTo>
                    <a:pt x="207789" y="3459207"/>
                  </a:lnTo>
                  <a:lnTo>
                    <a:pt x="183473" y="3445946"/>
                  </a:lnTo>
                  <a:lnTo>
                    <a:pt x="161368" y="3430475"/>
                  </a:lnTo>
                  <a:lnTo>
                    <a:pt x="140368" y="3412794"/>
                  </a:lnTo>
                  <a:lnTo>
                    <a:pt x="120474" y="3395112"/>
                  </a:lnTo>
                  <a:lnTo>
                    <a:pt x="102789" y="3377431"/>
                  </a:lnTo>
                  <a:lnTo>
                    <a:pt x="86210" y="3357540"/>
                  </a:lnTo>
                  <a:lnTo>
                    <a:pt x="70737" y="3336543"/>
                  </a:lnTo>
                  <a:lnTo>
                    <a:pt x="56368" y="3314442"/>
                  </a:lnTo>
                  <a:lnTo>
                    <a:pt x="44211" y="3292340"/>
                  </a:lnTo>
                  <a:lnTo>
                    <a:pt x="33158" y="3269133"/>
                  </a:lnTo>
                  <a:lnTo>
                    <a:pt x="24316" y="3245927"/>
                  </a:lnTo>
                  <a:lnTo>
                    <a:pt x="16579" y="3221615"/>
                  </a:lnTo>
                  <a:lnTo>
                    <a:pt x="9947" y="3197303"/>
                  </a:lnTo>
                  <a:lnTo>
                    <a:pt x="5527" y="3171887"/>
                  </a:lnTo>
                  <a:lnTo>
                    <a:pt x="2211" y="3147575"/>
                  </a:lnTo>
                  <a:lnTo>
                    <a:pt x="1105" y="3122158"/>
                  </a:lnTo>
                  <a:lnTo>
                    <a:pt x="0" y="3096741"/>
                  </a:lnTo>
                  <a:lnTo>
                    <a:pt x="2211" y="3071324"/>
                  </a:lnTo>
                  <a:lnTo>
                    <a:pt x="4421" y="3045907"/>
                  </a:lnTo>
                  <a:lnTo>
                    <a:pt x="9947" y="3020491"/>
                  </a:lnTo>
                  <a:lnTo>
                    <a:pt x="15474" y="2996179"/>
                  </a:lnTo>
                  <a:lnTo>
                    <a:pt x="23211" y="2970762"/>
                  </a:lnTo>
                  <a:lnTo>
                    <a:pt x="33158" y="2947555"/>
                  </a:lnTo>
                  <a:lnTo>
                    <a:pt x="44211" y="2924349"/>
                  </a:lnTo>
                  <a:lnTo>
                    <a:pt x="56368" y="2900037"/>
                  </a:lnTo>
                  <a:lnTo>
                    <a:pt x="71842" y="2879041"/>
                  </a:lnTo>
                  <a:lnTo>
                    <a:pt x="88421" y="2856939"/>
                  </a:lnTo>
                  <a:lnTo>
                    <a:pt x="106105" y="2835942"/>
                  </a:lnTo>
                  <a:lnTo>
                    <a:pt x="126000" y="2816051"/>
                  </a:lnTo>
                  <a:lnTo>
                    <a:pt x="148105" y="2797265"/>
                  </a:lnTo>
                  <a:close/>
                </a:path>
              </a:pathLst>
            </a:custGeom>
            <a:solidFill>
              <a:srgbClr val="3E70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9B97139-DBBA-4A55-AAFB-CE2BCDDA4D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45748" y="0"/>
              <a:ext cx="5598253" cy="5143499"/>
            </a:xfrm>
            <a:custGeom>
              <a:avLst/>
              <a:gdLst>
                <a:gd name="connsiteX0" fmla="*/ 3502348 w 5598253"/>
                <a:gd name="connsiteY0" fmla="*/ 0 h 5143499"/>
                <a:gd name="connsiteX1" fmla="*/ 5488516 w 5598253"/>
                <a:gd name="connsiteY1" fmla="*/ 0 h 5143499"/>
                <a:gd name="connsiteX2" fmla="*/ 5598253 w 5598253"/>
                <a:gd name="connsiteY2" fmla="*/ 674323 h 5143499"/>
                <a:gd name="connsiteX3" fmla="*/ 5598253 w 5598253"/>
                <a:gd name="connsiteY3" fmla="*/ 5143499 h 5143499"/>
                <a:gd name="connsiteX4" fmla="*/ 4868310 w 5598253"/>
                <a:gd name="connsiteY4" fmla="*/ 5143499 h 5143499"/>
                <a:gd name="connsiteX5" fmla="*/ 246430 w 5598253"/>
                <a:gd name="connsiteY5" fmla="*/ 3391783 h 5143499"/>
                <a:gd name="connsiteX6" fmla="*/ 221013 w 5598253"/>
                <a:gd name="connsiteY6" fmla="*/ 3381838 h 5143499"/>
                <a:gd name="connsiteX7" fmla="*/ 196702 w 5598253"/>
                <a:gd name="connsiteY7" fmla="*/ 3369682 h 5143499"/>
                <a:gd name="connsiteX8" fmla="*/ 174601 w 5598253"/>
                <a:gd name="connsiteY8" fmla="*/ 3357526 h 5143499"/>
                <a:gd name="connsiteX9" fmla="*/ 153605 w 5598253"/>
                <a:gd name="connsiteY9" fmla="*/ 3342055 h 5143499"/>
                <a:gd name="connsiteX10" fmla="*/ 133713 w 5598253"/>
                <a:gd name="connsiteY10" fmla="*/ 3326584 h 5143499"/>
                <a:gd name="connsiteX11" fmla="*/ 114927 w 5598253"/>
                <a:gd name="connsiteY11" fmla="*/ 3310008 h 5143499"/>
                <a:gd name="connsiteX12" fmla="*/ 98351 w 5598253"/>
                <a:gd name="connsiteY12" fmla="*/ 3292327 h 5143499"/>
                <a:gd name="connsiteX13" fmla="*/ 82880 w 5598253"/>
                <a:gd name="connsiteY13" fmla="*/ 3273540 h 5143499"/>
                <a:gd name="connsiteX14" fmla="*/ 67409 w 5598253"/>
                <a:gd name="connsiteY14" fmla="*/ 3252544 h 5143499"/>
                <a:gd name="connsiteX15" fmla="*/ 54149 w 5598253"/>
                <a:gd name="connsiteY15" fmla="*/ 3232653 h 5143499"/>
                <a:gd name="connsiteX16" fmla="*/ 43098 w 5598253"/>
                <a:gd name="connsiteY16" fmla="*/ 3211656 h 5143499"/>
                <a:gd name="connsiteX17" fmla="*/ 32047 w 5598253"/>
                <a:gd name="connsiteY17" fmla="*/ 3189555 h 5143499"/>
                <a:gd name="connsiteX18" fmla="*/ 23207 w 5598253"/>
                <a:gd name="connsiteY18" fmla="*/ 3167453 h 5143499"/>
                <a:gd name="connsiteX19" fmla="*/ 16576 w 5598253"/>
                <a:gd name="connsiteY19" fmla="*/ 3145352 h 5143499"/>
                <a:gd name="connsiteX20" fmla="*/ 9946 w 5598253"/>
                <a:gd name="connsiteY20" fmla="*/ 3121040 h 5143499"/>
                <a:gd name="connsiteX21" fmla="*/ 5526 w 5598253"/>
                <a:gd name="connsiteY21" fmla="*/ 3097833 h 5143499"/>
                <a:gd name="connsiteX22" fmla="*/ 2211 w 5598253"/>
                <a:gd name="connsiteY22" fmla="*/ 3074627 h 5143499"/>
                <a:gd name="connsiteX23" fmla="*/ 0 w 5598253"/>
                <a:gd name="connsiteY23" fmla="*/ 3049210 h 5143499"/>
                <a:gd name="connsiteX24" fmla="*/ 0 w 5598253"/>
                <a:gd name="connsiteY24" fmla="*/ 3026003 h 5143499"/>
                <a:gd name="connsiteX25" fmla="*/ 1105 w 5598253"/>
                <a:gd name="connsiteY25" fmla="*/ 3001692 h 5143499"/>
                <a:gd name="connsiteX26" fmla="*/ 5526 w 5598253"/>
                <a:gd name="connsiteY26" fmla="*/ 2977380 h 5143499"/>
                <a:gd name="connsiteX27" fmla="*/ 9946 w 5598253"/>
                <a:gd name="connsiteY27" fmla="*/ 2954174 h 5143499"/>
                <a:gd name="connsiteX28" fmla="*/ 15471 w 5598253"/>
                <a:gd name="connsiteY28" fmla="*/ 2930967 h 5143499"/>
                <a:gd name="connsiteX29" fmla="*/ 23207 w 5598253"/>
                <a:gd name="connsiteY29" fmla="*/ 2906655 h 5143499"/>
                <a:gd name="connsiteX30" fmla="*/ 32047 w 5598253"/>
                <a:gd name="connsiteY30" fmla="*/ 2884554 h 5143499"/>
                <a:gd name="connsiteX31" fmla="*/ 41993 w 5598253"/>
                <a:gd name="connsiteY31" fmla="*/ 2862452 h 5143499"/>
                <a:gd name="connsiteX32" fmla="*/ 54149 w 5598253"/>
                <a:gd name="connsiteY32" fmla="*/ 2839246 h 5143499"/>
                <a:gd name="connsiteX33" fmla="*/ 68514 w 5598253"/>
                <a:gd name="connsiteY33" fmla="*/ 2818249 h 5143499"/>
                <a:gd name="connsiteX34" fmla="*/ 83985 w 5598253"/>
                <a:gd name="connsiteY34" fmla="*/ 2798358 h 5143499"/>
                <a:gd name="connsiteX35" fmla="*/ 101666 w 5598253"/>
                <a:gd name="connsiteY35" fmla="*/ 2779572 h 5143499"/>
                <a:gd name="connsiteX36" fmla="*/ 119348 w 5598253"/>
                <a:gd name="connsiteY36" fmla="*/ 2759680 h 5143499"/>
                <a:gd name="connsiteX37" fmla="*/ 141449 w 5598253"/>
                <a:gd name="connsiteY37" fmla="*/ 2741999 h 514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598253" h="5143499">
                  <a:moveTo>
                    <a:pt x="3502348" y="0"/>
                  </a:moveTo>
                  <a:lnTo>
                    <a:pt x="5488516" y="0"/>
                  </a:lnTo>
                  <a:lnTo>
                    <a:pt x="5598253" y="674323"/>
                  </a:lnTo>
                  <a:lnTo>
                    <a:pt x="5598253" y="5143499"/>
                  </a:lnTo>
                  <a:lnTo>
                    <a:pt x="4868310" y="5143499"/>
                  </a:lnTo>
                  <a:lnTo>
                    <a:pt x="246430" y="3391783"/>
                  </a:lnTo>
                  <a:lnTo>
                    <a:pt x="221013" y="3381838"/>
                  </a:lnTo>
                  <a:lnTo>
                    <a:pt x="196702" y="3369682"/>
                  </a:lnTo>
                  <a:lnTo>
                    <a:pt x="174601" y="3357526"/>
                  </a:lnTo>
                  <a:lnTo>
                    <a:pt x="153605" y="3342055"/>
                  </a:lnTo>
                  <a:lnTo>
                    <a:pt x="133713" y="3326584"/>
                  </a:lnTo>
                  <a:lnTo>
                    <a:pt x="114927" y="3310008"/>
                  </a:lnTo>
                  <a:lnTo>
                    <a:pt x="98351" y="3292327"/>
                  </a:lnTo>
                  <a:lnTo>
                    <a:pt x="82880" y="3273540"/>
                  </a:lnTo>
                  <a:lnTo>
                    <a:pt x="67409" y="3252544"/>
                  </a:lnTo>
                  <a:lnTo>
                    <a:pt x="54149" y="3232653"/>
                  </a:lnTo>
                  <a:lnTo>
                    <a:pt x="43098" y="3211656"/>
                  </a:lnTo>
                  <a:lnTo>
                    <a:pt x="32047" y="3189555"/>
                  </a:lnTo>
                  <a:lnTo>
                    <a:pt x="23207" y="3167453"/>
                  </a:lnTo>
                  <a:lnTo>
                    <a:pt x="16576" y="3145352"/>
                  </a:lnTo>
                  <a:lnTo>
                    <a:pt x="9946" y="3121040"/>
                  </a:lnTo>
                  <a:lnTo>
                    <a:pt x="5526" y="3097833"/>
                  </a:lnTo>
                  <a:lnTo>
                    <a:pt x="2211" y="3074627"/>
                  </a:lnTo>
                  <a:lnTo>
                    <a:pt x="0" y="3049210"/>
                  </a:lnTo>
                  <a:lnTo>
                    <a:pt x="0" y="3026003"/>
                  </a:lnTo>
                  <a:lnTo>
                    <a:pt x="1105" y="3001692"/>
                  </a:lnTo>
                  <a:lnTo>
                    <a:pt x="5526" y="2977380"/>
                  </a:lnTo>
                  <a:lnTo>
                    <a:pt x="9946" y="2954174"/>
                  </a:lnTo>
                  <a:lnTo>
                    <a:pt x="15471" y="2930967"/>
                  </a:lnTo>
                  <a:lnTo>
                    <a:pt x="23207" y="2906655"/>
                  </a:lnTo>
                  <a:lnTo>
                    <a:pt x="32047" y="2884554"/>
                  </a:lnTo>
                  <a:lnTo>
                    <a:pt x="41993" y="2862452"/>
                  </a:lnTo>
                  <a:lnTo>
                    <a:pt x="54149" y="2839246"/>
                  </a:lnTo>
                  <a:lnTo>
                    <a:pt x="68514" y="2818249"/>
                  </a:lnTo>
                  <a:lnTo>
                    <a:pt x="83985" y="2798358"/>
                  </a:lnTo>
                  <a:lnTo>
                    <a:pt x="101666" y="2779572"/>
                  </a:lnTo>
                  <a:lnTo>
                    <a:pt x="119348" y="2759680"/>
                  </a:lnTo>
                  <a:lnTo>
                    <a:pt x="141449" y="2741999"/>
                  </a:lnTo>
                  <a:close/>
                </a:path>
              </a:pathLst>
            </a:custGeom>
            <a:solidFill>
              <a:srgbClr val="2E83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17" name="Picture Placeholder 50">
            <a:extLst>
              <a:ext uri="{FF2B5EF4-FFF2-40B4-BE49-F238E27FC236}">
                <a16:creationId xmlns:a16="http://schemas.microsoft.com/office/drawing/2014/main" id="{B973EABB-632D-4870-A017-D92E45A346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04378" y="1"/>
            <a:ext cx="5339622" cy="5143499"/>
          </a:xfrm>
          <a:custGeom>
            <a:avLst/>
            <a:gdLst>
              <a:gd name="connsiteX0" fmla="*/ 3422666 w 5339622"/>
              <a:gd name="connsiteY0" fmla="*/ 0 h 5143499"/>
              <a:gd name="connsiteX1" fmla="*/ 5339622 w 5339622"/>
              <a:gd name="connsiteY1" fmla="*/ 0 h 5143499"/>
              <a:gd name="connsiteX2" fmla="*/ 5339622 w 5339622"/>
              <a:gd name="connsiteY2" fmla="*/ 5143499 h 5143499"/>
              <a:gd name="connsiteX3" fmla="*/ 5093366 w 5339622"/>
              <a:gd name="connsiteY3" fmla="*/ 5143499 h 5143499"/>
              <a:gd name="connsiteX4" fmla="*/ 233168 w 5339622"/>
              <a:gd name="connsiteY4" fmla="*/ 3301186 h 5143499"/>
              <a:gd name="connsiteX5" fmla="*/ 207752 w 5339622"/>
              <a:gd name="connsiteY5" fmla="*/ 3291235 h 5143499"/>
              <a:gd name="connsiteX6" fmla="*/ 185651 w 5339622"/>
              <a:gd name="connsiteY6" fmla="*/ 3280179 h 5143499"/>
              <a:gd name="connsiteX7" fmla="*/ 164654 w 5339622"/>
              <a:gd name="connsiteY7" fmla="*/ 3266911 h 5143499"/>
              <a:gd name="connsiteX8" fmla="*/ 144763 w 5339622"/>
              <a:gd name="connsiteY8" fmla="*/ 3252538 h 5143499"/>
              <a:gd name="connsiteX9" fmla="*/ 125977 w 5339622"/>
              <a:gd name="connsiteY9" fmla="*/ 3238165 h 5143499"/>
              <a:gd name="connsiteX10" fmla="*/ 108296 w 5339622"/>
              <a:gd name="connsiteY10" fmla="*/ 3222686 h 5143499"/>
              <a:gd name="connsiteX11" fmla="*/ 92825 w 5339622"/>
              <a:gd name="connsiteY11" fmla="*/ 3206101 h 5143499"/>
              <a:gd name="connsiteX12" fmla="*/ 76249 w 5339622"/>
              <a:gd name="connsiteY12" fmla="*/ 3187306 h 5143499"/>
              <a:gd name="connsiteX13" fmla="*/ 62989 w 5339622"/>
              <a:gd name="connsiteY13" fmla="*/ 3168510 h 5143499"/>
              <a:gd name="connsiteX14" fmla="*/ 50833 w 5339622"/>
              <a:gd name="connsiteY14" fmla="*/ 3149714 h 5143499"/>
              <a:gd name="connsiteX15" fmla="*/ 39783 w 5339622"/>
              <a:gd name="connsiteY15" fmla="*/ 3128707 h 5143499"/>
              <a:gd name="connsiteX16" fmla="*/ 29837 w 5339622"/>
              <a:gd name="connsiteY16" fmla="*/ 3108805 h 5143499"/>
              <a:gd name="connsiteX17" fmla="*/ 22101 w 5339622"/>
              <a:gd name="connsiteY17" fmla="*/ 3087798 h 5143499"/>
              <a:gd name="connsiteX18" fmla="*/ 15471 w 5339622"/>
              <a:gd name="connsiteY18" fmla="*/ 3066791 h 5143499"/>
              <a:gd name="connsiteX19" fmla="*/ 8841 w 5339622"/>
              <a:gd name="connsiteY19" fmla="*/ 3043573 h 5143499"/>
              <a:gd name="connsiteX20" fmla="*/ 4420 w 5339622"/>
              <a:gd name="connsiteY20" fmla="*/ 3021460 h 5143499"/>
              <a:gd name="connsiteX21" fmla="*/ 1105 w 5339622"/>
              <a:gd name="connsiteY21" fmla="*/ 2999347 h 5143499"/>
              <a:gd name="connsiteX22" fmla="*/ 0 w 5339622"/>
              <a:gd name="connsiteY22" fmla="*/ 2976129 h 5143499"/>
              <a:gd name="connsiteX23" fmla="*/ 0 w 5339622"/>
              <a:gd name="connsiteY23" fmla="*/ 2954016 h 5143499"/>
              <a:gd name="connsiteX24" fmla="*/ 1105 w 5339622"/>
              <a:gd name="connsiteY24" fmla="*/ 2930798 h 5143499"/>
              <a:gd name="connsiteX25" fmla="*/ 3315 w 5339622"/>
              <a:gd name="connsiteY25" fmla="*/ 2907580 h 5143499"/>
              <a:gd name="connsiteX26" fmla="*/ 7736 w 5339622"/>
              <a:gd name="connsiteY26" fmla="*/ 2885467 h 5143499"/>
              <a:gd name="connsiteX27" fmla="*/ 14366 w 5339622"/>
              <a:gd name="connsiteY27" fmla="*/ 2863354 h 5143499"/>
              <a:gd name="connsiteX28" fmla="*/ 20996 w 5339622"/>
              <a:gd name="connsiteY28" fmla="*/ 2841241 h 5143499"/>
              <a:gd name="connsiteX29" fmla="*/ 29837 w 5339622"/>
              <a:gd name="connsiteY29" fmla="*/ 2819129 h 5143499"/>
              <a:gd name="connsiteX30" fmla="*/ 39783 w 5339622"/>
              <a:gd name="connsiteY30" fmla="*/ 2798122 h 5143499"/>
              <a:gd name="connsiteX31" fmla="*/ 50833 w 5339622"/>
              <a:gd name="connsiteY31" fmla="*/ 2778220 h 5143499"/>
              <a:gd name="connsiteX32" fmla="*/ 64094 w 5339622"/>
              <a:gd name="connsiteY32" fmla="*/ 2757213 h 5143499"/>
              <a:gd name="connsiteX33" fmla="*/ 78460 w 5339622"/>
              <a:gd name="connsiteY33" fmla="*/ 2738417 h 5143499"/>
              <a:gd name="connsiteX34" fmla="*/ 95035 w 5339622"/>
              <a:gd name="connsiteY34" fmla="*/ 2719621 h 5143499"/>
              <a:gd name="connsiteX35" fmla="*/ 112717 w 5339622"/>
              <a:gd name="connsiteY35" fmla="*/ 2701931 h 5143499"/>
              <a:gd name="connsiteX36" fmla="*/ 131503 w 5339622"/>
              <a:gd name="connsiteY36" fmla="*/ 2684241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339622" h="5143499">
                <a:moveTo>
                  <a:pt x="3422666" y="0"/>
                </a:moveTo>
                <a:lnTo>
                  <a:pt x="5339622" y="0"/>
                </a:lnTo>
                <a:lnTo>
                  <a:pt x="5339622" y="5143499"/>
                </a:lnTo>
                <a:lnTo>
                  <a:pt x="5093366" y="5143499"/>
                </a:lnTo>
                <a:lnTo>
                  <a:pt x="233168" y="3301186"/>
                </a:lnTo>
                <a:lnTo>
                  <a:pt x="207752" y="3291235"/>
                </a:lnTo>
                <a:lnTo>
                  <a:pt x="185651" y="3280179"/>
                </a:lnTo>
                <a:lnTo>
                  <a:pt x="164654" y="3266911"/>
                </a:lnTo>
                <a:lnTo>
                  <a:pt x="144763" y="3252538"/>
                </a:lnTo>
                <a:lnTo>
                  <a:pt x="125977" y="3238165"/>
                </a:lnTo>
                <a:lnTo>
                  <a:pt x="108296" y="3222686"/>
                </a:lnTo>
                <a:lnTo>
                  <a:pt x="92825" y="3206101"/>
                </a:lnTo>
                <a:lnTo>
                  <a:pt x="76249" y="3187306"/>
                </a:lnTo>
                <a:lnTo>
                  <a:pt x="62989" y="3168510"/>
                </a:lnTo>
                <a:lnTo>
                  <a:pt x="50833" y="3149714"/>
                </a:lnTo>
                <a:lnTo>
                  <a:pt x="39783" y="3128707"/>
                </a:lnTo>
                <a:lnTo>
                  <a:pt x="29837" y="3108805"/>
                </a:lnTo>
                <a:lnTo>
                  <a:pt x="22101" y="3087798"/>
                </a:lnTo>
                <a:lnTo>
                  <a:pt x="15471" y="3066791"/>
                </a:lnTo>
                <a:lnTo>
                  <a:pt x="8841" y="3043573"/>
                </a:lnTo>
                <a:lnTo>
                  <a:pt x="4420" y="3021460"/>
                </a:lnTo>
                <a:lnTo>
                  <a:pt x="1105" y="2999347"/>
                </a:lnTo>
                <a:lnTo>
                  <a:pt x="0" y="2976129"/>
                </a:lnTo>
                <a:lnTo>
                  <a:pt x="0" y="2954016"/>
                </a:lnTo>
                <a:lnTo>
                  <a:pt x="1105" y="2930798"/>
                </a:lnTo>
                <a:lnTo>
                  <a:pt x="3315" y="2907580"/>
                </a:lnTo>
                <a:lnTo>
                  <a:pt x="7736" y="2885467"/>
                </a:lnTo>
                <a:lnTo>
                  <a:pt x="14366" y="2863354"/>
                </a:lnTo>
                <a:lnTo>
                  <a:pt x="20996" y="2841241"/>
                </a:lnTo>
                <a:lnTo>
                  <a:pt x="29837" y="2819129"/>
                </a:lnTo>
                <a:lnTo>
                  <a:pt x="39783" y="2798122"/>
                </a:lnTo>
                <a:lnTo>
                  <a:pt x="50833" y="2778220"/>
                </a:lnTo>
                <a:lnTo>
                  <a:pt x="64094" y="2757213"/>
                </a:lnTo>
                <a:lnTo>
                  <a:pt x="78460" y="2738417"/>
                </a:lnTo>
                <a:lnTo>
                  <a:pt x="95035" y="2719621"/>
                </a:lnTo>
                <a:lnTo>
                  <a:pt x="112717" y="2701931"/>
                </a:lnTo>
                <a:lnTo>
                  <a:pt x="131503" y="2684241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lang="en-US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7" y="1948300"/>
            <a:ext cx="4032697" cy="4431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2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439327"/>
            <a:ext cx="4032697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5000"/>
              </a:lnSpc>
              <a:spcBef>
                <a:spcPts val="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57895" y="586880"/>
            <a:ext cx="1821425" cy="30994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190294E-39B1-4759-8D1A-EFC935A27416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rgbClr val="00204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09148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8E9CF05B-F3A9-491D-92F7-4E19027D2C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852"/>
            <a:ext cx="9144000" cy="5137796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3D60D1E-B991-42F9-B789-5163E9547B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875" y="1207959"/>
            <a:ext cx="1170761" cy="1169482"/>
          </a:xfrm>
          <a:prstGeom prst="roundRect">
            <a:avLst>
              <a:gd name="adj" fmla="val 379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2A4625-8FD5-4F05-AEB2-4DF8F5551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639" y="2483690"/>
            <a:ext cx="2032375" cy="1692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9F9CF5-C996-4BF3-ACCC-23A5A67C4B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5" y="2702530"/>
            <a:ext cx="2035302" cy="136704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300"/>
              </a:spcBef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54203CB-E869-4D76-A738-767676E45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F11F912-FCB8-4706-8659-98E5AA4DF83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765106" y="1207959"/>
            <a:ext cx="1170761" cy="1169482"/>
          </a:xfrm>
          <a:prstGeom prst="roundRect">
            <a:avLst>
              <a:gd name="adj" fmla="val 379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09589C5-C724-4CAA-94C6-D70DCC3F51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69870" y="2483690"/>
            <a:ext cx="2032375" cy="1692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38CC5F2-A0D7-44A2-BC4F-1DB7146D78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65106" y="2702530"/>
            <a:ext cx="2035302" cy="136704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300"/>
              </a:spcBef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FA132-2AA7-41B0-A448-EA8EAD4A2A7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133336" y="1207959"/>
            <a:ext cx="1170761" cy="1169482"/>
          </a:xfrm>
          <a:prstGeom prst="roundRect">
            <a:avLst>
              <a:gd name="adj" fmla="val 379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FB3232B-5F64-4EC1-89E6-9DA2E6C8BA4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38100" y="2483690"/>
            <a:ext cx="2032375" cy="1692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733B7216-5CD7-40EA-898D-19F813E364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33336" y="2702530"/>
            <a:ext cx="2035302" cy="136704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300"/>
              </a:spcBef>
              <a:defRPr sz="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EC3206-AAD5-44DF-A3AC-1B944FC05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1" y="334800"/>
            <a:ext cx="7884412" cy="3508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82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Z:\Sales&amp;Marketing\Z-Graphic Team\_Kreation_Ordner\_NIELSEN\Rebrand_2017_Templates\Logo\Wordmark\RGB\PNG\Nielsen_Wordmark_White_RGB_for pp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017" y="1817941"/>
            <a:ext cx="4267966" cy="1507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5"/>
          <p:cNvSpPr txBox="1"/>
          <p:nvPr userDrawn="1"/>
        </p:nvSpPr>
        <p:spPr>
          <a:xfrm>
            <a:off x="4671850" y="4101920"/>
            <a:ext cx="4171911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r"/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WHAT’S</a:t>
            </a:r>
            <a:r>
              <a:rPr lang="en-US" sz="1600" b="1" cap="all" noProof="0" dirty="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NEXT</a:t>
            </a:r>
            <a:r>
              <a:rPr lang="en-US" sz="1600" b="1" cap="all" noProof="0" dirty="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IN</a:t>
            </a:r>
            <a:r>
              <a:rPr lang="en-US" sz="1600" b="1" cap="all" noProof="0" dirty="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GLOBAL</a:t>
            </a:r>
            <a:r>
              <a:rPr lang="en-US" sz="1600" b="1" cap="all" noProof="0" dirty="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SPORTS</a:t>
            </a:r>
            <a:r>
              <a:rPr lang="en-US" sz="1600" b="1" cap="all" noProof="0" dirty="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AND</a:t>
            </a:r>
            <a:r>
              <a:rPr lang="en-US" sz="1600" b="1" cap="all" noProof="0" dirty="0">
                <a:solidFill>
                  <a:schemeClr val="bg1"/>
                </a:solidFill>
                <a:latin typeface="+mj-lt"/>
                <a:cs typeface="Arial"/>
              </a:rPr>
              <a:t> </a:t>
            </a:r>
            <a:r>
              <a:rPr lang="en-US" sz="1400" b="1" cap="all" noProof="0" dirty="0">
                <a:solidFill>
                  <a:schemeClr val="bg1"/>
                </a:solidFill>
                <a:latin typeface="+mj-lt"/>
                <a:cs typeface="Arial"/>
              </a:rPr>
              <a:t>ENTERTAINMENT</a:t>
            </a:r>
          </a:p>
        </p:txBody>
      </p:sp>
      <p:pic>
        <p:nvPicPr>
          <p:cNvPr id="9" name="Google Shape;135;p23">
            <a:extLst>
              <a:ext uri="{FF2B5EF4-FFF2-40B4-BE49-F238E27FC236}">
                <a16:creationId xmlns:a16="http://schemas.microsoft.com/office/drawing/2014/main" id="{43FF4601-623C-4D97-B22E-1153B9C058D9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66100" y="2199550"/>
            <a:ext cx="4352544" cy="7443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7368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89DFDB-D93C-4D66-B292-71B1CB0259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296000"/>
            <a:ext cx="8353425" cy="3327399"/>
          </a:xfrm>
        </p:spPr>
        <p:txBody>
          <a:bodyPr numCol="2" spcCol="28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592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0C4202F2-6455-4684-933B-2701EA36BB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64087" y="1311275"/>
            <a:ext cx="3381157" cy="3313113"/>
          </a:xfrm>
          <a:solidFill>
            <a:srgbClr val="DCDE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20666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3CAF88D7-687D-4210-92E0-2793D8792C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09083" t="15909"/>
          <a:stretch/>
        </p:blipFill>
        <p:spPr>
          <a:xfrm>
            <a:off x="0" y="0"/>
            <a:ext cx="9144001" cy="5143500"/>
          </a:xfrm>
          <a:prstGeom prst="rect">
            <a:avLst/>
          </a:prstGeom>
        </p:spPr>
      </p:pic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7895" y="845960"/>
            <a:ext cx="2235299" cy="3803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5B7053-B994-4555-BA1B-21D2DEBCC26E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7" y="2464848"/>
            <a:ext cx="5944553" cy="4708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4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983575"/>
            <a:ext cx="5944553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54233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F954864-10BA-4BF7-926C-C0443EC1F1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35181" t="31210" r="1794" b="415"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7895" y="845960"/>
            <a:ext cx="2235299" cy="3803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FC9CB80-B011-4864-B886-E728F2C3BAB1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8" y="2464848"/>
            <a:ext cx="5062084" cy="4708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4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8" y="2983575"/>
            <a:ext cx="5062084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1932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rt Slide -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4DF0AAB-09BD-45C5-8AC2-830FB072F1A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9974" y="1"/>
            <a:ext cx="5534025" cy="5143500"/>
          </a:xfrm>
          <a:custGeom>
            <a:avLst/>
            <a:gdLst>
              <a:gd name="connsiteX0" fmla="*/ 0 w 5211368"/>
              <a:gd name="connsiteY0" fmla="*/ 0 h 5143500"/>
              <a:gd name="connsiteX1" fmla="*/ 5211368 w 5211368"/>
              <a:gd name="connsiteY1" fmla="*/ 0 h 5143500"/>
              <a:gd name="connsiteX2" fmla="*/ 5211368 w 5211368"/>
              <a:gd name="connsiteY2" fmla="*/ 3584281 h 5143500"/>
              <a:gd name="connsiteX3" fmla="*/ 5013855 w 5211368"/>
              <a:gd name="connsiteY3" fmla="*/ 3789920 h 5143500"/>
              <a:gd name="connsiteX4" fmla="*/ 3714258 w 5211368"/>
              <a:gd name="connsiteY4" fmla="*/ 5143500 h 5143500"/>
              <a:gd name="connsiteX5" fmla="*/ 1490375 w 5211368"/>
              <a:gd name="connsiteY5" fmla="*/ 5143500 h 5143500"/>
              <a:gd name="connsiteX6" fmla="*/ 797260 w 5211368"/>
              <a:gd name="connsiteY6" fmla="*/ 275146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11368" h="5143500">
                <a:moveTo>
                  <a:pt x="0" y="0"/>
                </a:moveTo>
                <a:lnTo>
                  <a:pt x="5211368" y="0"/>
                </a:lnTo>
                <a:lnTo>
                  <a:pt x="5211368" y="3584281"/>
                </a:lnTo>
                <a:lnTo>
                  <a:pt x="5013855" y="3789920"/>
                </a:lnTo>
                <a:lnTo>
                  <a:pt x="3714258" y="5143500"/>
                </a:lnTo>
                <a:lnTo>
                  <a:pt x="1490375" y="5143500"/>
                </a:lnTo>
                <a:lnTo>
                  <a:pt x="797260" y="2751461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7" y="1948300"/>
            <a:ext cx="4032697" cy="443198"/>
          </a:xfrm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defRPr sz="3200" spc="-5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5287" y="2439327"/>
            <a:ext cx="4032697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l">
              <a:lnSpc>
                <a:spcPct val="105000"/>
              </a:lnSpc>
              <a:spcBef>
                <a:spcPts val="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7" y="4505838"/>
            <a:ext cx="4579125" cy="14843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lnSpc>
                <a:spcPct val="102000"/>
              </a:lnSpc>
              <a:spcBef>
                <a:spcPts val="0"/>
              </a:spcBef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to edit master text style</a:t>
            </a:r>
          </a:p>
        </p:txBody>
      </p:sp>
      <p:pic>
        <p:nvPicPr>
          <p:cNvPr id="7" name="Google Shape;10;p2">
            <a:extLst>
              <a:ext uri="{FF2B5EF4-FFF2-40B4-BE49-F238E27FC236}">
                <a16:creationId xmlns:a16="http://schemas.microsoft.com/office/drawing/2014/main" id="{3CC62509-4412-4473-A73B-5E98352F13A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57895" y="586880"/>
            <a:ext cx="1821425" cy="30994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F3E44BD-01AB-4804-9837-1CB44861CB19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45846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CC3BA2F-42FB-476E-9156-49232DB591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3769"/>
            <a:ext cx="3024583" cy="877163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Google Shape;117;p20">
            <a:extLst>
              <a:ext uri="{FF2B5EF4-FFF2-40B4-BE49-F238E27FC236}">
                <a16:creationId xmlns:a16="http://schemas.microsoft.com/office/drawing/2014/main" id="{605FA8F9-7D4C-40A3-9559-D5418974090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E1DCD14-7108-4987-BEE9-222578673E92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3503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-divider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1C58D8-F436-4276-8A2E-8843EF8C8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477"/>
            <a:ext cx="5942691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oogle Shape;117;p20">
            <a:extLst>
              <a:ext uri="{FF2B5EF4-FFF2-40B4-BE49-F238E27FC236}">
                <a16:creationId xmlns:a16="http://schemas.microsoft.com/office/drawing/2014/main" id="{F6CA3930-84BB-4B49-BF43-9D73DE05511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340F592-09A5-43F9-B724-20B1E16A84EE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6752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ub-divider Aqu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86AE3F74-185E-48A3-A84B-2386381C96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477"/>
            <a:ext cx="5942691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oogle Shape;117;p20">
            <a:extLst>
              <a:ext uri="{FF2B5EF4-FFF2-40B4-BE49-F238E27FC236}">
                <a16:creationId xmlns:a16="http://schemas.microsoft.com/office/drawing/2014/main" id="{F6CA3930-84BB-4B49-BF43-9D73DE05511F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B3B5896-D51A-4919-B200-57BE5AA6F8DB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31252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08353346-F5D0-446A-BCEF-B55C14DCFB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918513"/>
            <a:ext cx="3024583" cy="877163"/>
          </a:xfrm>
        </p:spPr>
        <p:txBody>
          <a:bodyPr wrap="square" anchor="ctr">
            <a:spAutoFit/>
          </a:bodyPr>
          <a:lstStyle>
            <a:lvl1pPr>
              <a:lnSpc>
                <a:spcPct val="95000"/>
              </a:lnSpc>
              <a:defRPr sz="3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9E2A18-5FEE-4BCF-B45D-97D388D55C06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4908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B9943A-8FFE-4C60-9517-AF2D14F6B363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0A9F14-F295-4A6F-B1B5-0B7814DD13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EA6C2A-12C4-4B39-9282-39572EC6C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967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1C459D6-6557-4EA8-A503-EC13D62233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196189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/ 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A3B1D5-2369-4411-90C4-4D2EEFD73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8D84B7-1728-4178-AFE2-AA4F71DDE4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296000"/>
            <a:ext cx="8353425" cy="332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289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89DFDB-D93C-4D66-B292-71B1CB0259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296000"/>
            <a:ext cx="8353425" cy="3327399"/>
          </a:xfrm>
        </p:spPr>
        <p:txBody>
          <a:bodyPr numCol="2" spcCol="28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836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0A9F14-F295-4A6F-B1B5-0B7814DD13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3EA6C2A-12C4-4B39-9282-39572EC6C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A0E0C2CA-C982-461A-B714-0021A27D958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17;p20">
            <a:extLst>
              <a:ext uri="{FF2B5EF4-FFF2-40B4-BE49-F238E27FC236}">
                <a16:creationId xmlns:a16="http://schemas.microsoft.com/office/drawing/2014/main" id="{31DD3062-ED99-4CE3-98EF-A44140B841D5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3304FD0-9164-4730-9A68-96B29AFBBFFF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83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 lines/ Subtitle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1C459D6-6557-4EA8-A503-EC13D62233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pic>
        <p:nvPicPr>
          <p:cNvPr id="8" name="Google Shape;117;p20">
            <a:extLst>
              <a:ext uri="{FF2B5EF4-FFF2-40B4-BE49-F238E27FC236}">
                <a16:creationId xmlns:a16="http://schemas.microsoft.com/office/drawing/2014/main" id="{FF52BB07-73AE-43E8-A988-097462F6D9DC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117;p20">
            <a:extLst>
              <a:ext uri="{FF2B5EF4-FFF2-40B4-BE49-F238E27FC236}">
                <a16:creationId xmlns:a16="http://schemas.microsoft.com/office/drawing/2014/main" id="{D6D50004-1A9E-450E-B419-3DFA94FC087A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A65FE38-5659-4DE2-B6A7-72B3B5030521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27927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 lines/ Subtitle/Text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A3B1D5-2369-4411-90C4-4D2EEFD73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B6F015FA-C677-4DC0-99BF-E2A62E15BA07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4C81EB-57D2-4C4B-85C1-B79191191B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296000"/>
            <a:ext cx="8353425" cy="3327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Google Shape;117;p20">
            <a:extLst>
              <a:ext uri="{FF2B5EF4-FFF2-40B4-BE49-F238E27FC236}">
                <a16:creationId xmlns:a16="http://schemas.microsoft.com/office/drawing/2014/main" id="{1F708F58-FAB0-44C8-945F-D09E1AB93E34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3073B6C-7E66-4972-B93B-4E662048466F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959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2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 lines/ Subtitle/Text 2 Columns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pic>
        <p:nvPicPr>
          <p:cNvPr id="8" name="Google Shape;117;p20">
            <a:extLst>
              <a:ext uri="{FF2B5EF4-FFF2-40B4-BE49-F238E27FC236}">
                <a16:creationId xmlns:a16="http://schemas.microsoft.com/office/drawing/2014/main" id="{98A808DF-F3EF-4B9C-9AD8-3806DEAE215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5E9A5F-3613-4C7B-9348-2B61A95DF0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296000"/>
            <a:ext cx="8353425" cy="3327399"/>
          </a:xfrm>
        </p:spPr>
        <p:txBody>
          <a:bodyPr numCol="2" spcCol="28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Google Shape;117;p20">
            <a:extLst>
              <a:ext uri="{FF2B5EF4-FFF2-40B4-BE49-F238E27FC236}">
                <a16:creationId xmlns:a16="http://schemas.microsoft.com/office/drawing/2014/main" id="{D6EB4D8E-05FA-40D6-BB2B-CAF48272B794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208F591-ED8D-4614-BC45-77D538F0E7A0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160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5" orient="horz" pos="826">
          <p15:clr>
            <a:srgbClr val="FBAE40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7;p14">
            <a:extLst>
              <a:ext uri="{FF2B5EF4-FFF2-40B4-BE49-F238E27FC236}">
                <a16:creationId xmlns:a16="http://schemas.microsoft.com/office/drawing/2014/main" id="{9632CD61-669F-47D6-9CD7-F03D9A94E2CA}"/>
              </a:ext>
            </a:extLst>
          </p:cNvPr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rgbClr val="DCDEE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7669" y="2408936"/>
            <a:ext cx="320222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306315F-66DD-4F37-8805-681473BF0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9" y="1765789"/>
            <a:ext cx="3202224" cy="584775"/>
          </a:xfrm>
        </p:spPr>
        <p:txBody>
          <a:bodyPr anchor="b"/>
          <a:lstStyle>
            <a:lvl1pPr>
              <a:lnSpc>
                <a:spcPct val="95000"/>
              </a:lnSpc>
              <a:defRPr spc="-5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3AA6D0-7880-491C-B45A-08E31C69CD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67287" y="555400"/>
            <a:ext cx="3781426" cy="40689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376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6F218EB-E2D5-4CA0-A455-CE1C8EABB0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5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17DCEC-2BD9-4B12-9B60-8338F0943F54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7959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urpl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D8EB5BE6-C0B1-48A8-B370-0D7FD50230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9"/>
            <a:ext cx="9144000" cy="5139362"/>
          </a:xfrm>
          <a:prstGeom prst="rect">
            <a:avLst/>
          </a:prstGeom>
        </p:spPr>
      </p:pic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EA2281E-DBE3-434E-825E-279C467B3B5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68"/>
            <a:ext cx="9144000" cy="51414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BB3409-5010-4F8D-A5B4-25D2B48DD15F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8552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lit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17DCEC-2BD9-4B12-9B60-8338F0943F54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A0B6BEC8-BED4-4865-8E6D-D2DD1AB278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7669" y="2408936"/>
            <a:ext cx="320222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9">
            <a:extLst>
              <a:ext uri="{FF2B5EF4-FFF2-40B4-BE49-F238E27FC236}">
                <a16:creationId xmlns:a16="http://schemas.microsoft.com/office/drawing/2014/main" id="{2C880D0D-7EC5-4B98-AAA1-F537A932E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669" y="1765789"/>
            <a:ext cx="3202224" cy="584775"/>
          </a:xfrm>
        </p:spPr>
        <p:txBody>
          <a:bodyPr anchor="b"/>
          <a:lstStyle>
            <a:lvl1pPr>
              <a:lnSpc>
                <a:spcPct val="95000"/>
              </a:lnSpc>
              <a:defRPr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6356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"/>
            <a:ext cx="9143999" cy="4624385"/>
          </a:xfrm>
          <a:prstGeom prst="rect">
            <a:avLst/>
          </a:prstGeo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1E033-4A80-44DE-B954-99AC46E15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192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>
            <a:extLst>
              <a:ext uri="{FF2B5EF4-FFF2-40B4-BE49-F238E27FC236}">
                <a16:creationId xmlns:a16="http://schemas.microsoft.com/office/drawing/2014/main" id="{5CC2B5CA-ED3D-4850-98A0-5AF107E512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3"/>
            <a:ext cx="9143999" cy="4624385"/>
          </a:xfrm>
          <a:prstGeom prst="rect">
            <a:avLst/>
          </a:prstGeo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1342537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7">
            <a:extLst>
              <a:ext uri="{FF2B5EF4-FFF2-40B4-BE49-F238E27FC236}">
                <a16:creationId xmlns:a16="http://schemas.microsoft.com/office/drawing/2014/main" id="{37E520A3-9323-4E38-9A09-5B6A308764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76674" y="0"/>
            <a:ext cx="5267326" cy="4624388"/>
          </a:xfrm>
          <a:custGeom>
            <a:avLst/>
            <a:gdLst>
              <a:gd name="connsiteX0" fmla="*/ 2480742 w 5267326"/>
              <a:gd name="connsiteY0" fmla="*/ 0 h 4619625"/>
              <a:gd name="connsiteX1" fmla="*/ 5267326 w 5267326"/>
              <a:gd name="connsiteY1" fmla="*/ 0 h 4619625"/>
              <a:gd name="connsiteX2" fmla="*/ 5267326 w 5267326"/>
              <a:gd name="connsiteY2" fmla="*/ 4619625 h 4619625"/>
              <a:gd name="connsiteX3" fmla="*/ 251340 w 5267326"/>
              <a:gd name="connsiteY3" fmla="*/ 4619625 h 4619625"/>
              <a:gd name="connsiteX4" fmla="*/ 238996 w 5267326"/>
              <a:gd name="connsiteY4" fmla="*/ 4619251 h 4619625"/>
              <a:gd name="connsiteX5" fmla="*/ 221455 w 5267326"/>
              <a:gd name="connsiteY5" fmla="*/ 4617058 h 4619625"/>
              <a:gd name="connsiteX6" fmla="*/ 203914 w 5267326"/>
              <a:gd name="connsiteY6" fmla="*/ 4613770 h 4619625"/>
              <a:gd name="connsiteX7" fmla="*/ 186373 w 5267326"/>
              <a:gd name="connsiteY7" fmla="*/ 4609932 h 4619625"/>
              <a:gd name="connsiteX8" fmla="*/ 171025 w 5267326"/>
              <a:gd name="connsiteY8" fmla="*/ 4604999 h 4619625"/>
              <a:gd name="connsiteX9" fmla="*/ 154580 w 5267326"/>
              <a:gd name="connsiteY9" fmla="*/ 4598969 h 4619625"/>
              <a:gd name="connsiteX10" fmla="*/ 139232 w 5267326"/>
              <a:gd name="connsiteY10" fmla="*/ 4591843 h 4619625"/>
              <a:gd name="connsiteX11" fmla="*/ 124980 w 5267326"/>
              <a:gd name="connsiteY11" fmla="*/ 4583073 h 4619625"/>
              <a:gd name="connsiteX12" fmla="*/ 111276 w 5267326"/>
              <a:gd name="connsiteY12" fmla="*/ 4574851 h 4619625"/>
              <a:gd name="connsiteX13" fmla="*/ 98120 w 5267326"/>
              <a:gd name="connsiteY13" fmla="*/ 4564984 h 4619625"/>
              <a:gd name="connsiteX14" fmla="*/ 85513 w 5267326"/>
              <a:gd name="connsiteY14" fmla="*/ 4553472 h 4619625"/>
              <a:gd name="connsiteX15" fmla="*/ 74001 w 5267326"/>
              <a:gd name="connsiteY15" fmla="*/ 4542509 h 4619625"/>
              <a:gd name="connsiteX16" fmla="*/ 63038 w 5267326"/>
              <a:gd name="connsiteY16" fmla="*/ 4530998 h 4619625"/>
              <a:gd name="connsiteX17" fmla="*/ 52623 w 5267326"/>
              <a:gd name="connsiteY17" fmla="*/ 4518391 h 4619625"/>
              <a:gd name="connsiteX18" fmla="*/ 43304 w 5267326"/>
              <a:gd name="connsiteY18" fmla="*/ 4504687 h 4619625"/>
              <a:gd name="connsiteX19" fmla="*/ 34534 w 5267326"/>
              <a:gd name="connsiteY19" fmla="*/ 4490983 h 4619625"/>
              <a:gd name="connsiteX20" fmla="*/ 26860 w 5267326"/>
              <a:gd name="connsiteY20" fmla="*/ 4476731 h 4619625"/>
              <a:gd name="connsiteX21" fmla="*/ 20282 w 5267326"/>
              <a:gd name="connsiteY21" fmla="*/ 4461931 h 4619625"/>
              <a:gd name="connsiteX22" fmla="*/ 14252 w 5267326"/>
              <a:gd name="connsiteY22" fmla="*/ 4447130 h 4619625"/>
              <a:gd name="connsiteX23" fmla="*/ 9319 w 5267326"/>
              <a:gd name="connsiteY23" fmla="*/ 4431234 h 4619625"/>
              <a:gd name="connsiteX24" fmla="*/ 5482 w 5267326"/>
              <a:gd name="connsiteY24" fmla="*/ 4415886 h 4619625"/>
              <a:gd name="connsiteX25" fmla="*/ 2741 w 5267326"/>
              <a:gd name="connsiteY25" fmla="*/ 4399441 h 4619625"/>
              <a:gd name="connsiteX26" fmla="*/ 549 w 5267326"/>
              <a:gd name="connsiteY26" fmla="*/ 4382996 h 4619625"/>
              <a:gd name="connsiteX27" fmla="*/ 0 w 5267326"/>
              <a:gd name="connsiteY27" fmla="*/ 4366552 h 4619625"/>
              <a:gd name="connsiteX28" fmla="*/ 0 w 5267326"/>
              <a:gd name="connsiteY28" fmla="*/ 4350107 h 4619625"/>
              <a:gd name="connsiteX29" fmla="*/ 1097 w 5267326"/>
              <a:gd name="connsiteY29" fmla="*/ 4333114 h 4619625"/>
              <a:gd name="connsiteX30" fmla="*/ 3837 w 5267326"/>
              <a:gd name="connsiteY30" fmla="*/ 4316669 h 4619625"/>
              <a:gd name="connsiteX31" fmla="*/ 7674 w 5267326"/>
              <a:gd name="connsiteY31" fmla="*/ 4299677 h 4619625"/>
              <a:gd name="connsiteX32" fmla="*/ 12608 w 5267326"/>
              <a:gd name="connsiteY32" fmla="*/ 4283232 h 4619625"/>
              <a:gd name="connsiteX33" fmla="*/ 19186 w 5267326"/>
              <a:gd name="connsiteY33" fmla="*/ 4266239 h 4619625"/>
              <a:gd name="connsiteX34" fmla="*/ 26312 w 5267326"/>
              <a:gd name="connsiteY34" fmla="*/ 4249795 h 4619625"/>
              <a:gd name="connsiteX35" fmla="*/ 34534 w 5267326"/>
              <a:gd name="connsiteY35" fmla="*/ 4234446 h 4619625"/>
              <a:gd name="connsiteX36" fmla="*/ 1933892 w 5267326"/>
              <a:gd name="connsiteY36" fmla="*/ 946611 h 461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5267326" h="4619625">
                <a:moveTo>
                  <a:pt x="2480742" y="0"/>
                </a:moveTo>
                <a:lnTo>
                  <a:pt x="5267326" y="0"/>
                </a:lnTo>
                <a:lnTo>
                  <a:pt x="5267326" y="4619625"/>
                </a:lnTo>
                <a:lnTo>
                  <a:pt x="251340" y="4619625"/>
                </a:lnTo>
                <a:lnTo>
                  <a:pt x="238996" y="4619251"/>
                </a:lnTo>
                <a:lnTo>
                  <a:pt x="221455" y="4617058"/>
                </a:lnTo>
                <a:lnTo>
                  <a:pt x="203914" y="4613770"/>
                </a:lnTo>
                <a:lnTo>
                  <a:pt x="186373" y="4609932"/>
                </a:lnTo>
                <a:lnTo>
                  <a:pt x="171025" y="4604999"/>
                </a:lnTo>
                <a:lnTo>
                  <a:pt x="154580" y="4598969"/>
                </a:lnTo>
                <a:lnTo>
                  <a:pt x="139232" y="4591843"/>
                </a:lnTo>
                <a:lnTo>
                  <a:pt x="124980" y="4583073"/>
                </a:lnTo>
                <a:lnTo>
                  <a:pt x="111276" y="4574851"/>
                </a:lnTo>
                <a:lnTo>
                  <a:pt x="98120" y="4564984"/>
                </a:lnTo>
                <a:lnTo>
                  <a:pt x="85513" y="4553472"/>
                </a:lnTo>
                <a:lnTo>
                  <a:pt x="74001" y="4542509"/>
                </a:lnTo>
                <a:lnTo>
                  <a:pt x="63038" y="4530998"/>
                </a:lnTo>
                <a:lnTo>
                  <a:pt x="52623" y="4518391"/>
                </a:lnTo>
                <a:lnTo>
                  <a:pt x="43304" y="4504687"/>
                </a:lnTo>
                <a:lnTo>
                  <a:pt x="34534" y="4490983"/>
                </a:lnTo>
                <a:lnTo>
                  <a:pt x="26860" y="4476731"/>
                </a:lnTo>
                <a:lnTo>
                  <a:pt x="20282" y="4461931"/>
                </a:lnTo>
                <a:lnTo>
                  <a:pt x="14252" y="4447130"/>
                </a:lnTo>
                <a:lnTo>
                  <a:pt x="9319" y="4431234"/>
                </a:lnTo>
                <a:lnTo>
                  <a:pt x="5482" y="4415886"/>
                </a:lnTo>
                <a:lnTo>
                  <a:pt x="2741" y="4399441"/>
                </a:lnTo>
                <a:lnTo>
                  <a:pt x="549" y="4382996"/>
                </a:lnTo>
                <a:lnTo>
                  <a:pt x="0" y="4366552"/>
                </a:lnTo>
                <a:lnTo>
                  <a:pt x="0" y="4350107"/>
                </a:lnTo>
                <a:lnTo>
                  <a:pt x="1097" y="4333114"/>
                </a:lnTo>
                <a:lnTo>
                  <a:pt x="3837" y="4316669"/>
                </a:lnTo>
                <a:lnTo>
                  <a:pt x="7674" y="4299677"/>
                </a:lnTo>
                <a:lnTo>
                  <a:pt x="12608" y="4283232"/>
                </a:lnTo>
                <a:lnTo>
                  <a:pt x="19186" y="4266239"/>
                </a:lnTo>
                <a:lnTo>
                  <a:pt x="26312" y="4249795"/>
                </a:lnTo>
                <a:lnTo>
                  <a:pt x="34534" y="4234446"/>
                </a:lnTo>
                <a:lnTo>
                  <a:pt x="1933892" y="946611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31078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28535A7F-2698-4B74-8383-8989AEC95D9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61780" y="0"/>
            <a:ext cx="4282220" cy="5143500"/>
          </a:xfrm>
          <a:custGeom>
            <a:avLst/>
            <a:gdLst>
              <a:gd name="connsiteX0" fmla="*/ 0 w 4282220"/>
              <a:gd name="connsiteY0" fmla="*/ 0 h 5143500"/>
              <a:gd name="connsiteX1" fmla="*/ 2348659 w 4282220"/>
              <a:gd name="connsiteY1" fmla="*/ 0 h 5143500"/>
              <a:gd name="connsiteX2" fmla="*/ 4282220 w 4282220"/>
              <a:gd name="connsiteY2" fmla="*/ 737627 h 5143500"/>
              <a:gd name="connsiteX3" fmla="*/ 4282220 w 4282220"/>
              <a:gd name="connsiteY3" fmla="*/ 3523347 h 5143500"/>
              <a:gd name="connsiteX4" fmla="*/ 2435786 w 4282220"/>
              <a:gd name="connsiteY4" fmla="*/ 5143500 h 5143500"/>
              <a:gd name="connsiteX5" fmla="*/ 1001549 w 4282220"/>
              <a:gd name="connsiteY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82220" h="5143500">
                <a:moveTo>
                  <a:pt x="0" y="0"/>
                </a:moveTo>
                <a:lnTo>
                  <a:pt x="2348659" y="0"/>
                </a:lnTo>
                <a:lnTo>
                  <a:pt x="4282220" y="737627"/>
                </a:lnTo>
                <a:lnTo>
                  <a:pt x="4282220" y="3523347"/>
                </a:lnTo>
                <a:lnTo>
                  <a:pt x="2435786" y="5143500"/>
                </a:lnTo>
                <a:lnTo>
                  <a:pt x="1001549" y="5143500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2279710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8">
            <a:extLst>
              <a:ext uri="{FF2B5EF4-FFF2-40B4-BE49-F238E27FC236}">
                <a16:creationId xmlns:a16="http://schemas.microsoft.com/office/drawing/2014/main" id="{251FE39A-98F5-4EE8-BDE5-DA8E1B9F8AA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654675" y="1020763"/>
            <a:ext cx="3894138" cy="3427412"/>
          </a:xfrm>
          <a:custGeom>
            <a:avLst/>
            <a:gdLst>
              <a:gd name="connsiteX0" fmla="*/ 1940190 w 3894138"/>
              <a:gd name="connsiteY0" fmla="*/ 0 h 3427412"/>
              <a:gd name="connsiteX1" fmla="*/ 1947069 w 3894138"/>
              <a:gd name="connsiteY1" fmla="*/ 0 h 3427412"/>
              <a:gd name="connsiteX2" fmla="*/ 1953949 w 3894138"/>
              <a:gd name="connsiteY2" fmla="*/ 0 h 3427412"/>
              <a:gd name="connsiteX3" fmla="*/ 1960828 w 3894138"/>
              <a:gd name="connsiteY3" fmla="*/ 353 h 3427412"/>
              <a:gd name="connsiteX4" fmla="*/ 1967531 w 3894138"/>
              <a:gd name="connsiteY4" fmla="*/ 706 h 3427412"/>
              <a:gd name="connsiteX5" fmla="*/ 1974411 w 3894138"/>
              <a:gd name="connsiteY5" fmla="*/ 1588 h 3427412"/>
              <a:gd name="connsiteX6" fmla="*/ 1981290 w 3894138"/>
              <a:gd name="connsiteY6" fmla="*/ 2470 h 3427412"/>
              <a:gd name="connsiteX7" fmla="*/ 1988170 w 3894138"/>
              <a:gd name="connsiteY7" fmla="*/ 3704 h 3427412"/>
              <a:gd name="connsiteX8" fmla="*/ 1994696 w 3894138"/>
              <a:gd name="connsiteY8" fmla="*/ 5115 h 3427412"/>
              <a:gd name="connsiteX9" fmla="*/ 2001399 w 3894138"/>
              <a:gd name="connsiteY9" fmla="*/ 6703 h 3427412"/>
              <a:gd name="connsiteX10" fmla="*/ 2008103 w 3894138"/>
              <a:gd name="connsiteY10" fmla="*/ 8467 h 3427412"/>
              <a:gd name="connsiteX11" fmla="*/ 2014629 w 3894138"/>
              <a:gd name="connsiteY11" fmla="*/ 10583 h 3427412"/>
              <a:gd name="connsiteX12" fmla="*/ 2021332 w 3894138"/>
              <a:gd name="connsiteY12" fmla="*/ 12700 h 3427412"/>
              <a:gd name="connsiteX13" fmla="*/ 2027859 w 3894138"/>
              <a:gd name="connsiteY13" fmla="*/ 15170 h 3427412"/>
              <a:gd name="connsiteX14" fmla="*/ 2034033 w 3894138"/>
              <a:gd name="connsiteY14" fmla="*/ 17815 h 3427412"/>
              <a:gd name="connsiteX15" fmla="*/ 2040560 w 3894138"/>
              <a:gd name="connsiteY15" fmla="*/ 20638 h 3427412"/>
              <a:gd name="connsiteX16" fmla="*/ 2046733 w 3894138"/>
              <a:gd name="connsiteY16" fmla="*/ 23813 h 3427412"/>
              <a:gd name="connsiteX17" fmla="*/ 2052907 w 3894138"/>
              <a:gd name="connsiteY17" fmla="*/ 26988 h 3427412"/>
              <a:gd name="connsiteX18" fmla="*/ 2059081 w 3894138"/>
              <a:gd name="connsiteY18" fmla="*/ 30515 h 3427412"/>
              <a:gd name="connsiteX19" fmla="*/ 2064902 w 3894138"/>
              <a:gd name="connsiteY19" fmla="*/ 34220 h 3427412"/>
              <a:gd name="connsiteX20" fmla="*/ 2070900 w 3894138"/>
              <a:gd name="connsiteY20" fmla="*/ 38100 h 3427412"/>
              <a:gd name="connsiteX21" fmla="*/ 2076721 w 3894138"/>
              <a:gd name="connsiteY21" fmla="*/ 42157 h 3427412"/>
              <a:gd name="connsiteX22" fmla="*/ 2082366 w 3894138"/>
              <a:gd name="connsiteY22" fmla="*/ 46743 h 3427412"/>
              <a:gd name="connsiteX23" fmla="*/ 2087834 w 3894138"/>
              <a:gd name="connsiteY23" fmla="*/ 51153 h 3427412"/>
              <a:gd name="connsiteX24" fmla="*/ 2093126 w 3894138"/>
              <a:gd name="connsiteY24" fmla="*/ 55915 h 3427412"/>
              <a:gd name="connsiteX25" fmla="*/ 2098418 w 3894138"/>
              <a:gd name="connsiteY25" fmla="*/ 61031 h 3427412"/>
              <a:gd name="connsiteX26" fmla="*/ 2103710 w 3894138"/>
              <a:gd name="connsiteY26" fmla="*/ 66146 h 3427412"/>
              <a:gd name="connsiteX27" fmla="*/ 2108472 w 3894138"/>
              <a:gd name="connsiteY27" fmla="*/ 71438 h 3427412"/>
              <a:gd name="connsiteX28" fmla="*/ 2113411 w 3894138"/>
              <a:gd name="connsiteY28" fmla="*/ 77082 h 3427412"/>
              <a:gd name="connsiteX29" fmla="*/ 2118174 w 3894138"/>
              <a:gd name="connsiteY29" fmla="*/ 83079 h 3427412"/>
              <a:gd name="connsiteX30" fmla="*/ 2122584 w 3894138"/>
              <a:gd name="connsiteY30" fmla="*/ 89076 h 3427412"/>
              <a:gd name="connsiteX31" fmla="*/ 2126994 w 3894138"/>
              <a:gd name="connsiteY31" fmla="*/ 95250 h 3427412"/>
              <a:gd name="connsiteX32" fmla="*/ 2131227 w 3894138"/>
              <a:gd name="connsiteY32" fmla="*/ 101777 h 3427412"/>
              <a:gd name="connsiteX33" fmla="*/ 2135108 w 3894138"/>
              <a:gd name="connsiteY33" fmla="*/ 108479 h 3427412"/>
              <a:gd name="connsiteX34" fmla="*/ 2999982 w 3894138"/>
              <a:gd name="connsiteY34" fmla="*/ 1605139 h 3427412"/>
              <a:gd name="connsiteX35" fmla="*/ 3864856 w 3894138"/>
              <a:gd name="connsiteY35" fmla="*/ 3101975 h 3427412"/>
              <a:gd name="connsiteX36" fmla="*/ 3868561 w 3894138"/>
              <a:gd name="connsiteY36" fmla="*/ 3108854 h 3427412"/>
              <a:gd name="connsiteX37" fmla="*/ 3872089 w 3894138"/>
              <a:gd name="connsiteY37" fmla="*/ 3115557 h 3427412"/>
              <a:gd name="connsiteX38" fmla="*/ 3875263 w 3894138"/>
              <a:gd name="connsiteY38" fmla="*/ 3122436 h 3427412"/>
              <a:gd name="connsiteX39" fmla="*/ 3878262 w 3894138"/>
              <a:gd name="connsiteY39" fmla="*/ 3129491 h 3427412"/>
              <a:gd name="connsiteX40" fmla="*/ 3881085 w 3894138"/>
              <a:gd name="connsiteY40" fmla="*/ 3136371 h 3427412"/>
              <a:gd name="connsiteX41" fmla="*/ 3883378 w 3894138"/>
              <a:gd name="connsiteY41" fmla="*/ 3143426 h 3427412"/>
              <a:gd name="connsiteX42" fmla="*/ 3885671 w 3894138"/>
              <a:gd name="connsiteY42" fmla="*/ 3150305 h 3427412"/>
              <a:gd name="connsiteX43" fmla="*/ 3887611 w 3894138"/>
              <a:gd name="connsiteY43" fmla="*/ 3157361 h 3427412"/>
              <a:gd name="connsiteX44" fmla="*/ 3889199 w 3894138"/>
              <a:gd name="connsiteY44" fmla="*/ 3164416 h 3427412"/>
              <a:gd name="connsiteX45" fmla="*/ 3890610 w 3894138"/>
              <a:gd name="connsiteY45" fmla="*/ 3171472 h 3427412"/>
              <a:gd name="connsiteX46" fmla="*/ 3892021 w 3894138"/>
              <a:gd name="connsiteY46" fmla="*/ 3178704 h 3427412"/>
              <a:gd name="connsiteX47" fmla="*/ 3892727 w 3894138"/>
              <a:gd name="connsiteY47" fmla="*/ 3185759 h 3427412"/>
              <a:gd name="connsiteX48" fmla="*/ 3893609 w 3894138"/>
              <a:gd name="connsiteY48" fmla="*/ 3192815 h 3427412"/>
              <a:gd name="connsiteX49" fmla="*/ 3893961 w 3894138"/>
              <a:gd name="connsiteY49" fmla="*/ 3199870 h 3427412"/>
              <a:gd name="connsiteX50" fmla="*/ 3894138 w 3894138"/>
              <a:gd name="connsiteY50" fmla="*/ 3206926 h 3427412"/>
              <a:gd name="connsiteX51" fmla="*/ 3894138 w 3894138"/>
              <a:gd name="connsiteY51" fmla="*/ 3213805 h 3427412"/>
              <a:gd name="connsiteX52" fmla="*/ 3893961 w 3894138"/>
              <a:gd name="connsiteY52" fmla="*/ 3220684 h 3427412"/>
              <a:gd name="connsiteX53" fmla="*/ 3893609 w 3894138"/>
              <a:gd name="connsiteY53" fmla="*/ 3227740 h 3427412"/>
              <a:gd name="connsiteX54" fmla="*/ 3892727 w 3894138"/>
              <a:gd name="connsiteY54" fmla="*/ 3234619 h 3427412"/>
              <a:gd name="connsiteX55" fmla="*/ 3892021 w 3894138"/>
              <a:gd name="connsiteY55" fmla="*/ 3241675 h 3427412"/>
              <a:gd name="connsiteX56" fmla="*/ 3890787 w 3894138"/>
              <a:gd name="connsiteY56" fmla="*/ 3248377 h 3427412"/>
              <a:gd name="connsiteX57" fmla="*/ 3889375 w 3894138"/>
              <a:gd name="connsiteY57" fmla="*/ 3255080 h 3427412"/>
              <a:gd name="connsiteX58" fmla="*/ 3887788 w 3894138"/>
              <a:gd name="connsiteY58" fmla="*/ 3261959 h 3427412"/>
              <a:gd name="connsiteX59" fmla="*/ 3886024 w 3894138"/>
              <a:gd name="connsiteY59" fmla="*/ 3268662 h 3427412"/>
              <a:gd name="connsiteX60" fmla="*/ 3884083 w 3894138"/>
              <a:gd name="connsiteY60" fmla="*/ 3275012 h 3427412"/>
              <a:gd name="connsiteX61" fmla="*/ 3881967 w 3894138"/>
              <a:gd name="connsiteY61" fmla="*/ 3281715 h 3427412"/>
              <a:gd name="connsiteX62" fmla="*/ 3879673 w 3894138"/>
              <a:gd name="connsiteY62" fmla="*/ 3288065 h 3427412"/>
              <a:gd name="connsiteX63" fmla="*/ 3877027 w 3894138"/>
              <a:gd name="connsiteY63" fmla="*/ 3294415 h 3427412"/>
              <a:gd name="connsiteX64" fmla="*/ 3874205 w 3894138"/>
              <a:gd name="connsiteY64" fmla="*/ 3300589 h 3427412"/>
              <a:gd name="connsiteX65" fmla="*/ 3871207 w 3894138"/>
              <a:gd name="connsiteY65" fmla="*/ 3306939 h 3427412"/>
              <a:gd name="connsiteX66" fmla="*/ 3868031 w 3894138"/>
              <a:gd name="connsiteY66" fmla="*/ 3312936 h 3427412"/>
              <a:gd name="connsiteX67" fmla="*/ 3864856 w 3894138"/>
              <a:gd name="connsiteY67" fmla="*/ 3318933 h 3427412"/>
              <a:gd name="connsiteX68" fmla="*/ 3861328 w 3894138"/>
              <a:gd name="connsiteY68" fmla="*/ 3324930 h 3427412"/>
              <a:gd name="connsiteX69" fmla="*/ 3857624 w 3894138"/>
              <a:gd name="connsiteY69" fmla="*/ 3330751 h 3427412"/>
              <a:gd name="connsiteX70" fmla="*/ 3853567 w 3894138"/>
              <a:gd name="connsiteY70" fmla="*/ 3336219 h 3427412"/>
              <a:gd name="connsiteX71" fmla="*/ 3849686 w 3894138"/>
              <a:gd name="connsiteY71" fmla="*/ 3341864 h 3427412"/>
              <a:gd name="connsiteX72" fmla="*/ 3845453 w 3894138"/>
              <a:gd name="connsiteY72" fmla="*/ 3347155 h 3427412"/>
              <a:gd name="connsiteX73" fmla="*/ 3840866 w 3894138"/>
              <a:gd name="connsiteY73" fmla="*/ 3352447 h 3427412"/>
              <a:gd name="connsiteX74" fmla="*/ 3836456 w 3894138"/>
              <a:gd name="connsiteY74" fmla="*/ 3357739 h 3427412"/>
              <a:gd name="connsiteX75" fmla="*/ 3831693 w 3894138"/>
              <a:gd name="connsiteY75" fmla="*/ 3362501 h 3427412"/>
              <a:gd name="connsiteX76" fmla="*/ 3826931 w 3894138"/>
              <a:gd name="connsiteY76" fmla="*/ 3367440 h 3427412"/>
              <a:gd name="connsiteX77" fmla="*/ 3821815 w 3894138"/>
              <a:gd name="connsiteY77" fmla="*/ 3372202 h 3427412"/>
              <a:gd name="connsiteX78" fmla="*/ 3816700 w 3894138"/>
              <a:gd name="connsiteY78" fmla="*/ 3376789 h 3427412"/>
              <a:gd name="connsiteX79" fmla="*/ 3811231 w 3894138"/>
              <a:gd name="connsiteY79" fmla="*/ 3381198 h 3427412"/>
              <a:gd name="connsiteX80" fmla="*/ 3805763 w 3894138"/>
              <a:gd name="connsiteY80" fmla="*/ 3385432 h 3427412"/>
              <a:gd name="connsiteX81" fmla="*/ 3800119 w 3894138"/>
              <a:gd name="connsiteY81" fmla="*/ 3389312 h 3427412"/>
              <a:gd name="connsiteX82" fmla="*/ 3794474 w 3894138"/>
              <a:gd name="connsiteY82" fmla="*/ 3393193 h 3427412"/>
              <a:gd name="connsiteX83" fmla="*/ 3788300 w 3894138"/>
              <a:gd name="connsiteY83" fmla="*/ 3396897 h 3427412"/>
              <a:gd name="connsiteX84" fmla="*/ 3782302 w 3894138"/>
              <a:gd name="connsiteY84" fmla="*/ 3400425 h 3427412"/>
              <a:gd name="connsiteX85" fmla="*/ 3775952 w 3894138"/>
              <a:gd name="connsiteY85" fmla="*/ 3403776 h 3427412"/>
              <a:gd name="connsiteX86" fmla="*/ 3769778 w 3894138"/>
              <a:gd name="connsiteY86" fmla="*/ 3406951 h 3427412"/>
              <a:gd name="connsiteX87" fmla="*/ 3763251 w 3894138"/>
              <a:gd name="connsiteY87" fmla="*/ 3409773 h 3427412"/>
              <a:gd name="connsiteX88" fmla="*/ 3756725 w 3894138"/>
              <a:gd name="connsiteY88" fmla="*/ 3412595 h 3427412"/>
              <a:gd name="connsiteX89" fmla="*/ 3750022 w 3894138"/>
              <a:gd name="connsiteY89" fmla="*/ 3415065 h 3427412"/>
              <a:gd name="connsiteX90" fmla="*/ 3743142 w 3894138"/>
              <a:gd name="connsiteY90" fmla="*/ 3417534 h 3427412"/>
              <a:gd name="connsiteX91" fmla="*/ 3736087 w 3894138"/>
              <a:gd name="connsiteY91" fmla="*/ 3419475 h 3427412"/>
              <a:gd name="connsiteX92" fmla="*/ 3729031 w 3894138"/>
              <a:gd name="connsiteY92" fmla="*/ 3421415 h 3427412"/>
              <a:gd name="connsiteX93" fmla="*/ 3721798 w 3894138"/>
              <a:gd name="connsiteY93" fmla="*/ 3423002 h 3427412"/>
              <a:gd name="connsiteX94" fmla="*/ 3714566 w 3894138"/>
              <a:gd name="connsiteY94" fmla="*/ 3424237 h 3427412"/>
              <a:gd name="connsiteX95" fmla="*/ 3707157 w 3894138"/>
              <a:gd name="connsiteY95" fmla="*/ 3425472 h 3427412"/>
              <a:gd name="connsiteX96" fmla="*/ 3699749 w 3894138"/>
              <a:gd name="connsiteY96" fmla="*/ 3426177 h 3427412"/>
              <a:gd name="connsiteX97" fmla="*/ 3692163 w 3894138"/>
              <a:gd name="connsiteY97" fmla="*/ 3427059 h 3427412"/>
              <a:gd name="connsiteX98" fmla="*/ 3684579 w 3894138"/>
              <a:gd name="connsiteY98" fmla="*/ 3427412 h 3427412"/>
              <a:gd name="connsiteX99" fmla="*/ 3676641 w 3894138"/>
              <a:gd name="connsiteY99" fmla="*/ 3427412 h 3427412"/>
              <a:gd name="connsiteX100" fmla="*/ 1947069 w 3894138"/>
              <a:gd name="connsiteY100" fmla="*/ 3427412 h 3427412"/>
              <a:gd name="connsiteX101" fmla="*/ 217674 w 3894138"/>
              <a:gd name="connsiteY101" fmla="*/ 3427412 h 3427412"/>
              <a:gd name="connsiteX102" fmla="*/ 209736 w 3894138"/>
              <a:gd name="connsiteY102" fmla="*/ 3427412 h 3427412"/>
              <a:gd name="connsiteX103" fmla="*/ 201975 w 3894138"/>
              <a:gd name="connsiteY103" fmla="*/ 3427059 h 3427412"/>
              <a:gd name="connsiteX104" fmla="*/ 194390 w 3894138"/>
              <a:gd name="connsiteY104" fmla="*/ 3426177 h 3427412"/>
              <a:gd name="connsiteX105" fmla="*/ 186981 w 3894138"/>
              <a:gd name="connsiteY105" fmla="*/ 3425472 h 3427412"/>
              <a:gd name="connsiteX106" fmla="*/ 179396 w 3894138"/>
              <a:gd name="connsiteY106" fmla="*/ 3424237 h 3427412"/>
              <a:gd name="connsiteX107" fmla="*/ 172164 w 3894138"/>
              <a:gd name="connsiteY107" fmla="*/ 3423002 h 3427412"/>
              <a:gd name="connsiteX108" fmla="*/ 164931 w 3894138"/>
              <a:gd name="connsiteY108" fmla="*/ 3421415 h 3427412"/>
              <a:gd name="connsiteX109" fmla="*/ 158052 w 3894138"/>
              <a:gd name="connsiteY109" fmla="*/ 3419475 h 3427412"/>
              <a:gd name="connsiteX110" fmla="*/ 151172 w 3894138"/>
              <a:gd name="connsiteY110" fmla="*/ 3417534 h 3427412"/>
              <a:gd name="connsiteX111" fmla="*/ 144293 w 3894138"/>
              <a:gd name="connsiteY111" fmla="*/ 3415065 h 3427412"/>
              <a:gd name="connsiteX112" fmla="*/ 137413 w 3894138"/>
              <a:gd name="connsiteY112" fmla="*/ 3412595 h 3427412"/>
              <a:gd name="connsiteX113" fmla="*/ 131063 w 3894138"/>
              <a:gd name="connsiteY113" fmla="*/ 3409773 h 3427412"/>
              <a:gd name="connsiteX114" fmla="*/ 124360 w 3894138"/>
              <a:gd name="connsiteY114" fmla="*/ 3406951 h 3427412"/>
              <a:gd name="connsiteX115" fmla="*/ 118010 w 3894138"/>
              <a:gd name="connsiteY115" fmla="*/ 3403776 h 3427412"/>
              <a:gd name="connsiteX116" fmla="*/ 111836 w 3894138"/>
              <a:gd name="connsiteY116" fmla="*/ 3400425 h 3427412"/>
              <a:gd name="connsiteX117" fmla="*/ 105838 w 3894138"/>
              <a:gd name="connsiteY117" fmla="*/ 3396897 h 3427412"/>
              <a:gd name="connsiteX118" fmla="*/ 99841 w 3894138"/>
              <a:gd name="connsiteY118" fmla="*/ 3393193 h 3427412"/>
              <a:gd name="connsiteX119" fmla="*/ 94020 w 3894138"/>
              <a:gd name="connsiteY119" fmla="*/ 3389312 h 3427412"/>
              <a:gd name="connsiteX120" fmla="*/ 88375 w 3894138"/>
              <a:gd name="connsiteY120" fmla="*/ 3385432 h 3427412"/>
              <a:gd name="connsiteX121" fmla="*/ 82907 w 3894138"/>
              <a:gd name="connsiteY121" fmla="*/ 3381198 h 3427412"/>
              <a:gd name="connsiteX122" fmla="*/ 77615 w 3894138"/>
              <a:gd name="connsiteY122" fmla="*/ 3376789 h 3427412"/>
              <a:gd name="connsiteX123" fmla="*/ 72323 w 3894138"/>
              <a:gd name="connsiteY123" fmla="*/ 3372202 h 3427412"/>
              <a:gd name="connsiteX124" fmla="*/ 67384 w 3894138"/>
              <a:gd name="connsiteY124" fmla="*/ 3367440 h 3427412"/>
              <a:gd name="connsiteX125" fmla="*/ 62621 w 3894138"/>
              <a:gd name="connsiteY125" fmla="*/ 3362501 h 3427412"/>
              <a:gd name="connsiteX126" fmla="*/ 57682 w 3894138"/>
              <a:gd name="connsiteY126" fmla="*/ 3357739 h 3427412"/>
              <a:gd name="connsiteX127" fmla="*/ 53096 w 3894138"/>
              <a:gd name="connsiteY127" fmla="*/ 3352447 h 3427412"/>
              <a:gd name="connsiteX128" fmla="*/ 48862 w 3894138"/>
              <a:gd name="connsiteY128" fmla="*/ 3347155 h 3427412"/>
              <a:gd name="connsiteX129" fmla="*/ 44629 w 3894138"/>
              <a:gd name="connsiteY129" fmla="*/ 3341864 h 3427412"/>
              <a:gd name="connsiteX130" fmla="*/ 40395 w 3894138"/>
              <a:gd name="connsiteY130" fmla="*/ 3336219 h 3427412"/>
              <a:gd name="connsiteX131" fmla="*/ 36514 w 3894138"/>
              <a:gd name="connsiteY131" fmla="*/ 3330751 h 3427412"/>
              <a:gd name="connsiteX132" fmla="*/ 32810 w 3894138"/>
              <a:gd name="connsiteY132" fmla="*/ 3324930 h 3427412"/>
              <a:gd name="connsiteX133" fmla="*/ 29282 w 3894138"/>
              <a:gd name="connsiteY133" fmla="*/ 3318933 h 3427412"/>
              <a:gd name="connsiteX134" fmla="*/ 25931 w 3894138"/>
              <a:gd name="connsiteY134" fmla="*/ 3312936 h 3427412"/>
              <a:gd name="connsiteX135" fmla="*/ 22932 w 3894138"/>
              <a:gd name="connsiteY135" fmla="*/ 3306939 h 3427412"/>
              <a:gd name="connsiteX136" fmla="*/ 19933 w 3894138"/>
              <a:gd name="connsiteY136" fmla="*/ 3300589 h 3427412"/>
              <a:gd name="connsiteX137" fmla="*/ 17287 w 3894138"/>
              <a:gd name="connsiteY137" fmla="*/ 3294415 h 3427412"/>
              <a:gd name="connsiteX138" fmla="*/ 14641 w 3894138"/>
              <a:gd name="connsiteY138" fmla="*/ 3288065 h 3427412"/>
              <a:gd name="connsiteX139" fmla="*/ 12348 w 3894138"/>
              <a:gd name="connsiteY139" fmla="*/ 3281715 h 3427412"/>
              <a:gd name="connsiteX140" fmla="*/ 10055 w 3894138"/>
              <a:gd name="connsiteY140" fmla="*/ 3275012 h 3427412"/>
              <a:gd name="connsiteX141" fmla="*/ 7938 w 3894138"/>
              <a:gd name="connsiteY141" fmla="*/ 3268662 h 3427412"/>
              <a:gd name="connsiteX142" fmla="*/ 6174 w 3894138"/>
              <a:gd name="connsiteY142" fmla="*/ 3261959 h 3427412"/>
              <a:gd name="connsiteX143" fmla="*/ 4763 w 3894138"/>
              <a:gd name="connsiteY143" fmla="*/ 3255080 h 3427412"/>
              <a:gd name="connsiteX144" fmla="*/ 3528 w 3894138"/>
              <a:gd name="connsiteY144" fmla="*/ 3248377 h 3427412"/>
              <a:gd name="connsiteX145" fmla="*/ 2293 w 3894138"/>
              <a:gd name="connsiteY145" fmla="*/ 3241675 h 3427412"/>
              <a:gd name="connsiteX146" fmla="*/ 1411 w 3894138"/>
              <a:gd name="connsiteY146" fmla="*/ 3234619 h 3427412"/>
              <a:gd name="connsiteX147" fmla="*/ 706 w 3894138"/>
              <a:gd name="connsiteY147" fmla="*/ 3227740 h 3427412"/>
              <a:gd name="connsiteX148" fmla="*/ 177 w 3894138"/>
              <a:gd name="connsiteY148" fmla="*/ 3220684 h 3427412"/>
              <a:gd name="connsiteX149" fmla="*/ 0 w 3894138"/>
              <a:gd name="connsiteY149" fmla="*/ 3213805 h 3427412"/>
              <a:gd name="connsiteX150" fmla="*/ 0 w 3894138"/>
              <a:gd name="connsiteY150" fmla="*/ 3206926 h 3427412"/>
              <a:gd name="connsiteX151" fmla="*/ 177 w 3894138"/>
              <a:gd name="connsiteY151" fmla="*/ 3199870 h 3427412"/>
              <a:gd name="connsiteX152" fmla="*/ 706 w 3894138"/>
              <a:gd name="connsiteY152" fmla="*/ 3192815 h 3427412"/>
              <a:gd name="connsiteX153" fmla="*/ 1411 w 3894138"/>
              <a:gd name="connsiteY153" fmla="*/ 3185759 h 3427412"/>
              <a:gd name="connsiteX154" fmla="*/ 2293 w 3894138"/>
              <a:gd name="connsiteY154" fmla="*/ 3178704 h 3427412"/>
              <a:gd name="connsiteX155" fmla="*/ 3528 w 3894138"/>
              <a:gd name="connsiteY155" fmla="*/ 3171472 h 3427412"/>
              <a:gd name="connsiteX156" fmla="*/ 4939 w 3894138"/>
              <a:gd name="connsiteY156" fmla="*/ 3164416 h 3427412"/>
              <a:gd name="connsiteX157" fmla="*/ 6703 w 3894138"/>
              <a:gd name="connsiteY157" fmla="*/ 3157361 h 3427412"/>
              <a:gd name="connsiteX158" fmla="*/ 8644 w 3894138"/>
              <a:gd name="connsiteY158" fmla="*/ 3150305 h 3427412"/>
              <a:gd name="connsiteX159" fmla="*/ 10760 w 3894138"/>
              <a:gd name="connsiteY159" fmla="*/ 3143426 h 3427412"/>
              <a:gd name="connsiteX160" fmla="*/ 13054 w 3894138"/>
              <a:gd name="connsiteY160" fmla="*/ 3136371 h 3427412"/>
              <a:gd name="connsiteX161" fmla="*/ 15876 w 3894138"/>
              <a:gd name="connsiteY161" fmla="*/ 3129491 h 3427412"/>
              <a:gd name="connsiteX162" fmla="*/ 19051 w 3894138"/>
              <a:gd name="connsiteY162" fmla="*/ 3122436 h 3427412"/>
              <a:gd name="connsiteX163" fmla="*/ 22050 w 3894138"/>
              <a:gd name="connsiteY163" fmla="*/ 3115557 h 3427412"/>
              <a:gd name="connsiteX164" fmla="*/ 25578 w 3894138"/>
              <a:gd name="connsiteY164" fmla="*/ 3108854 h 3427412"/>
              <a:gd name="connsiteX165" fmla="*/ 29282 w 3894138"/>
              <a:gd name="connsiteY165" fmla="*/ 3101975 h 3427412"/>
              <a:gd name="connsiteX166" fmla="*/ 894333 w 3894138"/>
              <a:gd name="connsiteY166" fmla="*/ 1605139 h 3427412"/>
              <a:gd name="connsiteX167" fmla="*/ 1759030 w 3894138"/>
              <a:gd name="connsiteY167" fmla="*/ 108479 h 3427412"/>
              <a:gd name="connsiteX168" fmla="*/ 1763087 w 3894138"/>
              <a:gd name="connsiteY168" fmla="*/ 101777 h 3427412"/>
              <a:gd name="connsiteX169" fmla="*/ 1767144 w 3894138"/>
              <a:gd name="connsiteY169" fmla="*/ 95250 h 3427412"/>
              <a:gd name="connsiteX170" fmla="*/ 1771554 w 3894138"/>
              <a:gd name="connsiteY170" fmla="*/ 89076 h 3427412"/>
              <a:gd name="connsiteX171" fmla="*/ 1775964 w 3894138"/>
              <a:gd name="connsiteY171" fmla="*/ 83079 h 3427412"/>
              <a:gd name="connsiteX172" fmla="*/ 1780727 w 3894138"/>
              <a:gd name="connsiteY172" fmla="*/ 77082 h 3427412"/>
              <a:gd name="connsiteX173" fmla="*/ 1785490 w 3894138"/>
              <a:gd name="connsiteY173" fmla="*/ 71438 h 3427412"/>
              <a:gd name="connsiteX174" fmla="*/ 1790605 w 3894138"/>
              <a:gd name="connsiteY174" fmla="*/ 66146 h 3427412"/>
              <a:gd name="connsiteX175" fmla="*/ 1795721 w 3894138"/>
              <a:gd name="connsiteY175" fmla="*/ 61031 h 3427412"/>
              <a:gd name="connsiteX176" fmla="*/ 1801013 w 3894138"/>
              <a:gd name="connsiteY176" fmla="*/ 55915 h 3427412"/>
              <a:gd name="connsiteX177" fmla="*/ 1806481 w 3894138"/>
              <a:gd name="connsiteY177" fmla="*/ 51153 h 3427412"/>
              <a:gd name="connsiteX178" fmla="*/ 1811949 w 3894138"/>
              <a:gd name="connsiteY178" fmla="*/ 46743 h 3427412"/>
              <a:gd name="connsiteX179" fmla="*/ 1817594 w 3894138"/>
              <a:gd name="connsiteY179" fmla="*/ 42157 h 3427412"/>
              <a:gd name="connsiteX180" fmla="*/ 1823239 w 3894138"/>
              <a:gd name="connsiteY180" fmla="*/ 38100 h 3427412"/>
              <a:gd name="connsiteX181" fmla="*/ 1829236 w 3894138"/>
              <a:gd name="connsiteY181" fmla="*/ 34220 h 3427412"/>
              <a:gd name="connsiteX182" fmla="*/ 1835234 w 3894138"/>
              <a:gd name="connsiteY182" fmla="*/ 30515 h 3427412"/>
              <a:gd name="connsiteX183" fmla="*/ 1841231 w 3894138"/>
              <a:gd name="connsiteY183" fmla="*/ 26988 h 3427412"/>
              <a:gd name="connsiteX184" fmla="*/ 1847581 w 3894138"/>
              <a:gd name="connsiteY184" fmla="*/ 23813 h 3427412"/>
              <a:gd name="connsiteX185" fmla="*/ 1853755 w 3894138"/>
              <a:gd name="connsiteY185" fmla="*/ 20638 h 3427412"/>
              <a:gd name="connsiteX186" fmla="*/ 1860106 w 3894138"/>
              <a:gd name="connsiteY186" fmla="*/ 17815 h 3427412"/>
              <a:gd name="connsiteX187" fmla="*/ 1866456 w 3894138"/>
              <a:gd name="connsiteY187" fmla="*/ 15170 h 3427412"/>
              <a:gd name="connsiteX188" fmla="*/ 1872982 w 3894138"/>
              <a:gd name="connsiteY188" fmla="*/ 12700 h 3427412"/>
              <a:gd name="connsiteX189" fmla="*/ 1879333 w 3894138"/>
              <a:gd name="connsiteY189" fmla="*/ 10583 h 3427412"/>
              <a:gd name="connsiteX190" fmla="*/ 1886036 w 3894138"/>
              <a:gd name="connsiteY190" fmla="*/ 8467 h 3427412"/>
              <a:gd name="connsiteX191" fmla="*/ 1892739 w 3894138"/>
              <a:gd name="connsiteY191" fmla="*/ 6703 h 3427412"/>
              <a:gd name="connsiteX192" fmla="*/ 1899442 w 3894138"/>
              <a:gd name="connsiteY192" fmla="*/ 5115 h 3427412"/>
              <a:gd name="connsiteX193" fmla="*/ 1906145 w 3894138"/>
              <a:gd name="connsiteY193" fmla="*/ 3704 h 3427412"/>
              <a:gd name="connsiteX194" fmla="*/ 1912848 w 3894138"/>
              <a:gd name="connsiteY194" fmla="*/ 2470 h 3427412"/>
              <a:gd name="connsiteX195" fmla="*/ 1919728 w 3894138"/>
              <a:gd name="connsiteY195" fmla="*/ 1588 h 3427412"/>
              <a:gd name="connsiteX196" fmla="*/ 1926607 w 3894138"/>
              <a:gd name="connsiteY196" fmla="*/ 706 h 3427412"/>
              <a:gd name="connsiteX197" fmla="*/ 1933310 w 3894138"/>
              <a:gd name="connsiteY197" fmla="*/ 353 h 3427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3894138" h="3427412">
                <a:moveTo>
                  <a:pt x="1940190" y="0"/>
                </a:moveTo>
                <a:lnTo>
                  <a:pt x="1947069" y="0"/>
                </a:lnTo>
                <a:lnTo>
                  <a:pt x="1953949" y="0"/>
                </a:lnTo>
                <a:lnTo>
                  <a:pt x="1960828" y="353"/>
                </a:lnTo>
                <a:lnTo>
                  <a:pt x="1967531" y="706"/>
                </a:lnTo>
                <a:lnTo>
                  <a:pt x="1974411" y="1588"/>
                </a:lnTo>
                <a:lnTo>
                  <a:pt x="1981290" y="2470"/>
                </a:lnTo>
                <a:lnTo>
                  <a:pt x="1988170" y="3704"/>
                </a:lnTo>
                <a:lnTo>
                  <a:pt x="1994696" y="5115"/>
                </a:lnTo>
                <a:lnTo>
                  <a:pt x="2001399" y="6703"/>
                </a:lnTo>
                <a:lnTo>
                  <a:pt x="2008103" y="8467"/>
                </a:lnTo>
                <a:lnTo>
                  <a:pt x="2014629" y="10583"/>
                </a:lnTo>
                <a:lnTo>
                  <a:pt x="2021332" y="12700"/>
                </a:lnTo>
                <a:lnTo>
                  <a:pt x="2027859" y="15170"/>
                </a:lnTo>
                <a:lnTo>
                  <a:pt x="2034033" y="17815"/>
                </a:lnTo>
                <a:lnTo>
                  <a:pt x="2040560" y="20638"/>
                </a:lnTo>
                <a:lnTo>
                  <a:pt x="2046733" y="23813"/>
                </a:lnTo>
                <a:lnTo>
                  <a:pt x="2052907" y="26988"/>
                </a:lnTo>
                <a:lnTo>
                  <a:pt x="2059081" y="30515"/>
                </a:lnTo>
                <a:lnTo>
                  <a:pt x="2064902" y="34220"/>
                </a:lnTo>
                <a:lnTo>
                  <a:pt x="2070900" y="38100"/>
                </a:lnTo>
                <a:lnTo>
                  <a:pt x="2076721" y="42157"/>
                </a:lnTo>
                <a:lnTo>
                  <a:pt x="2082366" y="46743"/>
                </a:lnTo>
                <a:lnTo>
                  <a:pt x="2087834" y="51153"/>
                </a:lnTo>
                <a:lnTo>
                  <a:pt x="2093126" y="55915"/>
                </a:lnTo>
                <a:lnTo>
                  <a:pt x="2098418" y="61031"/>
                </a:lnTo>
                <a:lnTo>
                  <a:pt x="2103710" y="66146"/>
                </a:lnTo>
                <a:lnTo>
                  <a:pt x="2108472" y="71438"/>
                </a:lnTo>
                <a:lnTo>
                  <a:pt x="2113411" y="77082"/>
                </a:lnTo>
                <a:lnTo>
                  <a:pt x="2118174" y="83079"/>
                </a:lnTo>
                <a:lnTo>
                  <a:pt x="2122584" y="89076"/>
                </a:lnTo>
                <a:lnTo>
                  <a:pt x="2126994" y="95250"/>
                </a:lnTo>
                <a:lnTo>
                  <a:pt x="2131227" y="101777"/>
                </a:lnTo>
                <a:lnTo>
                  <a:pt x="2135108" y="108479"/>
                </a:lnTo>
                <a:lnTo>
                  <a:pt x="2999982" y="1605139"/>
                </a:lnTo>
                <a:lnTo>
                  <a:pt x="3864856" y="3101975"/>
                </a:lnTo>
                <a:lnTo>
                  <a:pt x="3868561" y="3108854"/>
                </a:lnTo>
                <a:lnTo>
                  <a:pt x="3872089" y="3115557"/>
                </a:lnTo>
                <a:lnTo>
                  <a:pt x="3875263" y="3122436"/>
                </a:lnTo>
                <a:lnTo>
                  <a:pt x="3878262" y="3129491"/>
                </a:lnTo>
                <a:lnTo>
                  <a:pt x="3881085" y="3136371"/>
                </a:lnTo>
                <a:lnTo>
                  <a:pt x="3883378" y="3143426"/>
                </a:lnTo>
                <a:lnTo>
                  <a:pt x="3885671" y="3150305"/>
                </a:lnTo>
                <a:lnTo>
                  <a:pt x="3887611" y="3157361"/>
                </a:lnTo>
                <a:lnTo>
                  <a:pt x="3889199" y="3164416"/>
                </a:lnTo>
                <a:lnTo>
                  <a:pt x="3890610" y="3171472"/>
                </a:lnTo>
                <a:lnTo>
                  <a:pt x="3892021" y="3178704"/>
                </a:lnTo>
                <a:lnTo>
                  <a:pt x="3892727" y="3185759"/>
                </a:lnTo>
                <a:lnTo>
                  <a:pt x="3893609" y="3192815"/>
                </a:lnTo>
                <a:lnTo>
                  <a:pt x="3893961" y="3199870"/>
                </a:lnTo>
                <a:lnTo>
                  <a:pt x="3894138" y="3206926"/>
                </a:lnTo>
                <a:lnTo>
                  <a:pt x="3894138" y="3213805"/>
                </a:lnTo>
                <a:lnTo>
                  <a:pt x="3893961" y="3220684"/>
                </a:lnTo>
                <a:lnTo>
                  <a:pt x="3893609" y="3227740"/>
                </a:lnTo>
                <a:lnTo>
                  <a:pt x="3892727" y="3234619"/>
                </a:lnTo>
                <a:lnTo>
                  <a:pt x="3892021" y="3241675"/>
                </a:lnTo>
                <a:lnTo>
                  <a:pt x="3890787" y="3248377"/>
                </a:lnTo>
                <a:lnTo>
                  <a:pt x="3889375" y="3255080"/>
                </a:lnTo>
                <a:lnTo>
                  <a:pt x="3887788" y="3261959"/>
                </a:lnTo>
                <a:lnTo>
                  <a:pt x="3886024" y="3268662"/>
                </a:lnTo>
                <a:lnTo>
                  <a:pt x="3884083" y="3275012"/>
                </a:lnTo>
                <a:lnTo>
                  <a:pt x="3881967" y="3281715"/>
                </a:lnTo>
                <a:lnTo>
                  <a:pt x="3879673" y="3288065"/>
                </a:lnTo>
                <a:lnTo>
                  <a:pt x="3877027" y="3294415"/>
                </a:lnTo>
                <a:lnTo>
                  <a:pt x="3874205" y="3300589"/>
                </a:lnTo>
                <a:lnTo>
                  <a:pt x="3871207" y="3306939"/>
                </a:lnTo>
                <a:lnTo>
                  <a:pt x="3868031" y="3312936"/>
                </a:lnTo>
                <a:lnTo>
                  <a:pt x="3864856" y="3318933"/>
                </a:lnTo>
                <a:lnTo>
                  <a:pt x="3861328" y="3324930"/>
                </a:lnTo>
                <a:lnTo>
                  <a:pt x="3857624" y="3330751"/>
                </a:lnTo>
                <a:lnTo>
                  <a:pt x="3853567" y="3336219"/>
                </a:lnTo>
                <a:lnTo>
                  <a:pt x="3849686" y="3341864"/>
                </a:lnTo>
                <a:lnTo>
                  <a:pt x="3845453" y="3347155"/>
                </a:lnTo>
                <a:lnTo>
                  <a:pt x="3840866" y="3352447"/>
                </a:lnTo>
                <a:lnTo>
                  <a:pt x="3836456" y="3357739"/>
                </a:lnTo>
                <a:lnTo>
                  <a:pt x="3831693" y="3362501"/>
                </a:lnTo>
                <a:lnTo>
                  <a:pt x="3826931" y="3367440"/>
                </a:lnTo>
                <a:lnTo>
                  <a:pt x="3821815" y="3372202"/>
                </a:lnTo>
                <a:lnTo>
                  <a:pt x="3816700" y="3376789"/>
                </a:lnTo>
                <a:lnTo>
                  <a:pt x="3811231" y="3381198"/>
                </a:lnTo>
                <a:lnTo>
                  <a:pt x="3805763" y="3385432"/>
                </a:lnTo>
                <a:lnTo>
                  <a:pt x="3800119" y="3389312"/>
                </a:lnTo>
                <a:lnTo>
                  <a:pt x="3794474" y="3393193"/>
                </a:lnTo>
                <a:lnTo>
                  <a:pt x="3788300" y="3396897"/>
                </a:lnTo>
                <a:lnTo>
                  <a:pt x="3782302" y="3400425"/>
                </a:lnTo>
                <a:lnTo>
                  <a:pt x="3775952" y="3403776"/>
                </a:lnTo>
                <a:lnTo>
                  <a:pt x="3769778" y="3406951"/>
                </a:lnTo>
                <a:lnTo>
                  <a:pt x="3763251" y="3409773"/>
                </a:lnTo>
                <a:lnTo>
                  <a:pt x="3756725" y="3412595"/>
                </a:lnTo>
                <a:lnTo>
                  <a:pt x="3750022" y="3415065"/>
                </a:lnTo>
                <a:lnTo>
                  <a:pt x="3743142" y="3417534"/>
                </a:lnTo>
                <a:lnTo>
                  <a:pt x="3736087" y="3419475"/>
                </a:lnTo>
                <a:lnTo>
                  <a:pt x="3729031" y="3421415"/>
                </a:lnTo>
                <a:lnTo>
                  <a:pt x="3721798" y="3423002"/>
                </a:lnTo>
                <a:lnTo>
                  <a:pt x="3714566" y="3424237"/>
                </a:lnTo>
                <a:lnTo>
                  <a:pt x="3707157" y="3425472"/>
                </a:lnTo>
                <a:lnTo>
                  <a:pt x="3699749" y="3426177"/>
                </a:lnTo>
                <a:lnTo>
                  <a:pt x="3692163" y="3427059"/>
                </a:lnTo>
                <a:lnTo>
                  <a:pt x="3684579" y="3427412"/>
                </a:lnTo>
                <a:lnTo>
                  <a:pt x="3676641" y="3427412"/>
                </a:lnTo>
                <a:lnTo>
                  <a:pt x="1947069" y="3427412"/>
                </a:lnTo>
                <a:lnTo>
                  <a:pt x="217674" y="3427412"/>
                </a:lnTo>
                <a:lnTo>
                  <a:pt x="209736" y="3427412"/>
                </a:lnTo>
                <a:lnTo>
                  <a:pt x="201975" y="3427059"/>
                </a:lnTo>
                <a:lnTo>
                  <a:pt x="194390" y="3426177"/>
                </a:lnTo>
                <a:lnTo>
                  <a:pt x="186981" y="3425472"/>
                </a:lnTo>
                <a:lnTo>
                  <a:pt x="179396" y="3424237"/>
                </a:lnTo>
                <a:lnTo>
                  <a:pt x="172164" y="3423002"/>
                </a:lnTo>
                <a:lnTo>
                  <a:pt x="164931" y="3421415"/>
                </a:lnTo>
                <a:lnTo>
                  <a:pt x="158052" y="3419475"/>
                </a:lnTo>
                <a:lnTo>
                  <a:pt x="151172" y="3417534"/>
                </a:lnTo>
                <a:lnTo>
                  <a:pt x="144293" y="3415065"/>
                </a:lnTo>
                <a:lnTo>
                  <a:pt x="137413" y="3412595"/>
                </a:lnTo>
                <a:lnTo>
                  <a:pt x="131063" y="3409773"/>
                </a:lnTo>
                <a:lnTo>
                  <a:pt x="124360" y="3406951"/>
                </a:lnTo>
                <a:lnTo>
                  <a:pt x="118010" y="3403776"/>
                </a:lnTo>
                <a:lnTo>
                  <a:pt x="111836" y="3400425"/>
                </a:lnTo>
                <a:lnTo>
                  <a:pt x="105838" y="3396897"/>
                </a:lnTo>
                <a:lnTo>
                  <a:pt x="99841" y="3393193"/>
                </a:lnTo>
                <a:lnTo>
                  <a:pt x="94020" y="3389312"/>
                </a:lnTo>
                <a:lnTo>
                  <a:pt x="88375" y="3385432"/>
                </a:lnTo>
                <a:lnTo>
                  <a:pt x="82907" y="3381198"/>
                </a:lnTo>
                <a:lnTo>
                  <a:pt x="77615" y="3376789"/>
                </a:lnTo>
                <a:lnTo>
                  <a:pt x="72323" y="3372202"/>
                </a:lnTo>
                <a:lnTo>
                  <a:pt x="67384" y="3367440"/>
                </a:lnTo>
                <a:lnTo>
                  <a:pt x="62621" y="3362501"/>
                </a:lnTo>
                <a:lnTo>
                  <a:pt x="57682" y="3357739"/>
                </a:lnTo>
                <a:lnTo>
                  <a:pt x="53096" y="3352447"/>
                </a:lnTo>
                <a:lnTo>
                  <a:pt x="48862" y="3347155"/>
                </a:lnTo>
                <a:lnTo>
                  <a:pt x="44629" y="3341864"/>
                </a:lnTo>
                <a:lnTo>
                  <a:pt x="40395" y="3336219"/>
                </a:lnTo>
                <a:lnTo>
                  <a:pt x="36514" y="3330751"/>
                </a:lnTo>
                <a:lnTo>
                  <a:pt x="32810" y="3324930"/>
                </a:lnTo>
                <a:lnTo>
                  <a:pt x="29282" y="3318933"/>
                </a:lnTo>
                <a:lnTo>
                  <a:pt x="25931" y="3312936"/>
                </a:lnTo>
                <a:lnTo>
                  <a:pt x="22932" y="3306939"/>
                </a:lnTo>
                <a:lnTo>
                  <a:pt x="19933" y="3300589"/>
                </a:lnTo>
                <a:lnTo>
                  <a:pt x="17287" y="3294415"/>
                </a:lnTo>
                <a:lnTo>
                  <a:pt x="14641" y="3288065"/>
                </a:lnTo>
                <a:lnTo>
                  <a:pt x="12348" y="3281715"/>
                </a:lnTo>
                <a:lnTo>
                  <a:pt x="10055" y="3275012"/>
                </a:lnTo>
                <a:lnTo>
                  <a:pt x="7938" y="3268662"/>
                </a:lnTo>
                <a:lnTo>
                  <a:pt x="6174" y="3261959"/>
                </a:lnTo>
                <a:lnTo>
                  <a:pt x="4763" y="3255080"/>
                </a:lnTo>
                <a:lnTo>
                  <a:pt x="3528" y="3248377"/>
                </a:lnTo>
                <a:lnTo>
                  <a:pt x="2293" y="3241675"/>
                </a:lnTo>
                <a:lnTo>
                  <a:pt x="1411" y="3234619"/>
                </a:lnTo>
                <a:lnTo>
                  <a:pt x="706" y="3227740"/>
                </a:lnTo>
                <a:lnTo>
                  <a:pt x="177" y="3220684"/>
                </a:lnTo>
                <a:lnTo>
                  <a:pt x="0" y="3213805"/>
                </a:lnTo>
                <a:lnTo>
                  <a:pt x="0" y="3206926"/>
                </a:lnTo>
                <a:lnTo>
                  <a:pt x="177" y="3199870"/>
                </a:lnTo>
                <a:lnTo>
                  <a:pt x="706" y="3192815"/>
                </a:lnTo>
                <a:lnTo>
                  <a:pt x="1411" y="3185759"/>
                </a:lnTo>
                <a:lnTo>
                  <a:pt x="2293" y="3178704"/>
                </a:lnTo>
                <a:lnTo>
                  <a:pt x="3528" y="3171472"/>
                </a:lnTo>
                <a:lnTo>
                  <a:pt x="4939" y="3164416"/>
                </a:lnTo>
                <a:lnTo>
                  <a:pt x="6703" y="3157361"/>
                </a:lnTo>
                <a:lnTo>
                  <a:pt x="8644" y="3150305"/>
                </a:lnTo>
                <a:lnTo>
                  <a:pt x="10760" y="3143426"/>
                </a:lnTo>
                <a:lnTo>
                  <a:pt x="13054" y="3136371"/>
                </a:lnTo>
                <a:lnTo>
                  <a:pt x="15876" y="3129491"/>
                </a:lnTo>
                <a:lnTo>
                  <a:pt x="19051" y="3122436"/>
                </a:lnTo>
                <a:lnTo>
                  <a:pt x="22050" y="3115557"/>
                </a:lnTo>
                <a:lnTo>
                  <a:pt x="25578" y="3108854"/>
                </a:lnTo>
                <a:lnTo>
                  <a:pt x="29282" y="3101975"/>
                </a:lnTo>
                <a:lnTo>
                  <a:pt x="894333" y="1605139"/>
                </a:lnTo>
                <a:lnTo>
                  <a:pt x="1759030" y="108479"/>
                </a:lnTo>
                <a:lnTo>
                  <a:pt x="1763087" y="101777"/>
                </a:lnTo>
                <a:lnTo>
                  <a:pt x="1767144" y="95250"/>
                </a:lnTo>
                <a:lnTo>
                  <a:pt x="1771554" y="89076"/>
                </a:lnTo>
                <a:lnTo>
                  <a:pt x="1775964" y="83079"/>
                </a:lnTo>
                <a:lnTo>
                  <a:pt x="1780727" y="77082"/>
                </a:lnTo>
                <a:lnTo>
                  <a:pt x="1785490" y="71438"/>
                </a:lnTo>
                <a:lnTo>
                  <a:pt x="1790605" y="66146"/>
                </a:lnTo>
                <a:lnTo>
                  <a:pt x="1795721" y="61031"/>
                </a:lnTo>
                <a:lnTo>
                  <a:pt x="1801013" y="55915"/>
                </a:lnTo>
                <a:lnTo>
                  <a:pt x="1806481" y="51153"/>
                </a:lnTo>
                <a:lnTo>
                  <a:pt x="1811949" y="46743"/>
                </a:lnTo>
                <a:lnTo>
                  <a:pt x="1817594" y="42157"/>
                </a:lnTo>
                <a:lnTo>
                  <a:pt x="1823239" y="38100"/>
                </a:lnTo>
                <a:lnTo>
                  <a:pt x="1829236" y="34220"/>
                </a:lnTo>
                <a:lnTo>
                  <a:pt x="1835234" y="30515"/>
                </a:lnTo>
                <a:lnTo>
                  <a:pt x="1841231" y="26988"/>
                </a:lnTo>
                <a:lnTo>
                  <a:pt x="1847581" y="23813"/>
                </a:lnTo>
                <a:lnTo>
                  <a:pt x="1853755" y="20638"/>
                </a:lnTo>
                <a:lnTo>
                  <a:pt x="1860106" y="17815"/>
                </a:lnTo>
                <a:lnTo>
                  <a:pt x="1866456" y="15170"/>
                </a:lnTo>
                <a:lnTo>
                  <a:pt x="1872982" y="12700"/>
                </a:lnTo>
                <a:lnTo>
                  <a:pt x="1879333" y="10583"/>
                </a:lnTo>
                <a:lnTo>
                  <a:pt x="1886036" y="8467"/>
                </a:lnTo>
                <a:lnTo>
                  <a:pt x="1892739" y="6703"/>
                </a:lnTo>
                <a:lnTo>
                  <a:pt x="1899442" y="5115"/>
                </a:lnTo>
                <a:lnTo>
                  <a:pt x="1906145" y="3704"/>
                </a:lnTo>
                <a:lnTo>
                  <a:pt x="1912848" y="2470"/>
                </a:lnTo>
                <a:lnTo>
                  <a:pt x="1919728" y="1588"/>
                </a:lnTo>
                <a:lnTo>
                  <a:pt x="1926607" y="706"/>
                </a:lnTo>
                <a:lnTo>
                  <a:pt x="1933310" y="353"/>
                </a:lnTo>
                <a:close/>
              </a:path>
            </a:pathLst>
          </a:custGeom>
          <a:solidFill>
            <a:srgbClr val="DCDEE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</p:spTree>
    <p:extLst>
      <p:ext uri="{BB962C8B-B14F-4D97-AF65-F5344CB8AC3E}">
        <p14:creationId xmlns:p14="http://schemas.microsoft.com/office/powerpoint/2010/main" val="209629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0C4202F2-6455-4684-933B-2701EA36BB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64087" y="1311275"/>
            <a:ext cx="3381157" cy="3313113"/>
          </a:xfrm>
          <a:solidFill>
            <a:srgbClr val="DCDE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82887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5CF988A2-E656-4196-9D68-0D0207188EF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96890" y="1311275"/>
            <a:ext cx="4062429" cy="218462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CA5E35A1-810A-4DEF-840E-D1695C3D21D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83127" y="1311275"/>
            <a:ext cx="4065586" cy="218462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62333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381E9A6-7713-4722-B1A4-957065F599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2112" y="1312799"/>
            <a:ext cx="2671244" cy="1649821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7493611D-19A9-4446-88F6-4B84A5BF26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40086" y="1312799"/>
            <a:ext cx="2671244" cy="1649821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D121A419-1C02-430F-8F00-FA465D283D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78060" y="1312799"/>
            <a:ext cx="2671244" cy="1649821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906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8D0E34B9-61E8-443C-B2D3-29E89A1F3E08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402686" y="1316335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44FD3D4-308D-49B6-B1B2-703735898FC2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2549226" y="1316335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4297C9D1-8212-42E1-BA9C-23A4CE3C739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4695766" y="1316335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B395818-2499-4C95-AAF2-E8833B2B9B3D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6842306" y="1316335"/>
            <a:ext cx="1908000" cy="1908000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49308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urpl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BDC379F0-F45B-4C9C-BE22-DDAB6E7BED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8"/>
            <a:ext cx="9144000" cy="514193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3000962-0060-4377-8808-1BCC685EDB90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915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2 lines/ Subtitle/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864000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AC16ACC-0D1E-48B1-A471-5FCE6BDE33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536" y="241200"/>
            <a:ext cx="8350797" cy="584775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Headline with two lines maximum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D4F27B31-6E75-467A-A0D7-C367BBB1062C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5195832" y="1311274"/>
            <a:ext cx="1705888" cy="157964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499F12F-E32F-474E-AC7F-97B5A5ED6E50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7045690" y="1311274"/>
            <a:ext cx="1705888" cy="157964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06168CEA-7D18-4A42-AEE3-38DDBFAE2DA8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5195832" y="3044742"/>
            <a:ext cx="1705888" cy="157964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C00A0577-80EB-47B9-83ED-E489457271C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7045690" y="3044742"/>
            <a:ext cx="1705888" cy="1579646"/>
          </a:xfrm>
          <a:solidFill>
            <a:srgbClr val="DCDEE6"/>
          </a:solidFill>
        </p:spPr>
        <p:txBody>
          <a:bodyPr anchor="ctr">
            <a:normAutofit/>
          </a:bodyPr>
          <a:lstStyle>
            <a:lvl1pPr algn="ctr">
              <a:defRPr sz="9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62748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9FCC3B"/>
          </p15:clr>
        </p15:guide>
        <p15:guide id="6" pos="2948">
          <p15:clr>
            <a:srgbClr val="9FCC3B"/>
          </p15:clr>
        </p15:guide>
        <p15:guide id="7" pos="2812">
          <p15:clr>
            <a:srgbClr val="9FCC3B"/>
          </p15:clr>
        </p15:guide>
        <p15:guide id="8" orient="horz" pos="82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1056F-3819-4DCC-AA51-65780BBDE1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4C9C8C-ED59-491A-B7EB-F55E91E183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8475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54203CB-E869-4D76-A738-767676E45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BE75B8F-3A1F-4AA6-836F-10E3D8FC58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875" y="1102995"/>
            <a:ext cx="1332865" cy="1331408"/>
          </a:xfrm>
          <a:prstGeom prst="roundRect">
            <a:avLst>
              <a:gd name="adj" fmla="val 3790"/>
            </a:avLst>
          </a:prstGeom>
          <a:blipFill>
            <a:blip r:embed="rId2"/>
            <a:srcRect/>
            <a:stretch>
              <a:fillRect t="-55" b="-55"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013CD6F-837D-4B5F-A84D-76A70D5446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639" y="2544444"/>
            <a:ext cx="2459517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DDBD7B2-B44E-430F-88CB-9A3F95DFF9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4" y="2824570"/>
            <a:ext cx="2463059" cy="151901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CC5A518-1DDA-471A-A565-C4A1DB6CEB9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3168" r="33262"/>
          <a:stretch>
            <a:fillRect/>
          </a:stretch>
        </p:blipFill>
        <p:spPr>
          <a:xfrm>
            <a:off x="3632426" y="0"/>
            <a:ext cx="5511574" cy="4638168"/>
          </a:xfrm>
          <a:custGeom>
            <a:avLst/>
            <a:gdLst>
              <a:gd name="connsiteX0" fmla="*/ 0 w 5511574"/>
              <a:gd name="connsiteY0" fmla="*/ 0 h 4638168"/>
              <a:gd name="connsiteX1" fmla="*/ 5511574 w 5511574"/>
              <a:gd name="connsiteY1" fmla="*/ 0 h 4638168"/>
              <a:gd name="connsiteX2" fmla="*/ 5511574 w 5511574"/>
              <a:gd name="connsiteY2" fmla="*/ 4638168 h 4638168"/>
              <a:gd name="connsiteX3" fmla="*/ 0 w 5511574"/>
              <a:gd name="connsiteY3" fmla="*/ 4638168 h 463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11574" h="4638168">
                <a:moveTo>
                  <a:pt x="0" y="0"/>
                </a:moveTo>
                <a:lnTo>
                  <a:pt x="5511574" y="0"/>
                </a:lnTo>
                <a:lnTo>
                  <a:pt x="5511574" y="4638168"/>
                </a:lnTo>
                <a:lnTo>
                  <a:pt x="0" y="4638168"/>
                </a:lnTo>
                <a:close/>
              </a:path>
            </a:pathLst>
          </a:cu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5F0B5A8-FFA2-409F-85B7-578248362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397438"/>
            <a:ext cx="8350797" cy="2923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092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83F12E65-44A3-48D6-A355-E77F573D6D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812" r="44024"/>
          <a:stretch/>
        </p:blipFill>
        <p:spPr>
          <a:xfrm>
            <a:off x="5471075" y="-1"/>
            <a:ext cx="3672926" cy="4630621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3D60D1E-B991-42F9-B789-5163E9547B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96875" y="1103201"/>
            <a:ext cx="1332865" cy="1331408"/>
          </a:xfrm>
          <a:prstGeom prst="roundRect">
            <a:avLst>
              <a:gd name="adj" fmla="val 3790"/>
            </a:avLst>
          </a:prstGeom>
          <a:blipFill>
            <a:blip r:embed="rId3"/>
            <a:srcRect/>
            <a:stretch>
              <a:fillRect t="-55" b="-55"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2A4625-8FD5-4F05-AEB2-4DF8F5551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1639" y="2544650"/>
            <a:ext cx="2459517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9F9CF5-C996-4BF3-ACCC-23A5A67C4B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4" y="2824776"/>
            <a:ext cx="2463059" cy="151901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54203CB-E869-4D76-A738-767676E45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EF21EA9-1EB8-423F-927E-081CA6CB8F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791" y="2544650"/>
            <a:ext cx="2459517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irst Las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6B1A464-A553-4577-8232-BA3B319964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56026" y="2824776"/>
            <a:ext cx="2463059" cy="151901"/>
          </a:xfrm>
        </p:spPr>
        <p:txBody>
          <a:bodyPr wrap="square">
            <a:spAutoFit/>
          </a:bodyPr>
          <a:lstStyle>
            <a:lvl1pPr>
              <a:lnSpc>
                <a:spcPct val="105000"/>
              </a:lnSpc>
              <a:spcBef>
                <a:spcPts val="400"/>
              </a:spcBef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9A74927-4657-4AA6-B5B5-5CFC36FE9D1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160791" y="1103201"/>
            <a:ext cx="1332865" cy="1331408"/>
          </a:xfrm>
          <a:prstGeom prst="roundRect">
            <a:avLst>
              <a:gd name="adj" fmla="val 3790"/>
            </a:avLst>
          </a:prstGeom>
          <a:blipFill>
            <a:blip r:embed="rId3"/>
            <a:srcRect/>
            <a:stretch>
              <a:fillRect t="-55" b="-55"/>
            </a:stretch>
          </a:blip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2AF7B7-64A5-402A-B8D2-7A6B8278E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397438"/>
            <a:ext cx="8350797" cy="2923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045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Z:\Sales&amp;Marketing\Z-Graphic Team\_Kreation_Ordner\_NIELSEN\Rebrand_2017_Templates\Logo\Wordmark\RGB\PNG\Nielsen_Wordmark_White_RGB_for pp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017" y="1817941"/>
            <a:ext cx="4267966" cy="1507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oogle Shape;135;p23">
            <a:extLst>
              <a:ext uri="{FF2B5EF4-FFF2-40B4-BE49-F238E27FC236}">
                <a16:creationId xmlns:a16="http://schemas.microsoft.com/office/drawing/2014/main" id="{43FF4601-623C-4D97-B22E-1153B9C058D9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66100" y="2199550"/>
            <a:ext cx="4352544" cy="7443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499C215-08F0-40A9-BF0D-904140C10587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77385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N-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57075" y="4792758"/>
            <a:ext cx="7829700" cy="1301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ext durch Klicken bearbeite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57076" y="1869358"/>
            <a:ext cx="7829700" cy="944585"/>
          </a:xfrm>
        </p:spPr>
        <p:txBody>
          <a:bodyPr wrap="square">
            <a:spAutoFit/>
          </a:bodyPr>
          <a:lstStyle>
            <a:lvl1pPr>
              <a:lnSpc>
                <a:spcPct val="93000"/>
              </a:lnSpc>
              <a:defRPr sz="3300">
                <a:solidFill>
                  <a:srgbClr val="FFFFFF"/>
                </a:solidFill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57225" y="2883601"/>
            <a:ext cx="7829551" cy="21281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Bef>
                <a:spcPts val="450"/>
              </a:spcBef>
              <a:defRPr sz="135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noProof="0" dirty="0"/>
              <a:t>Untertitel bearbeiten</a:t>
            </a:r>
          </a:p>
        </p:txBody>
      </p:sp>
      <p:pic>
        <p:nvPicPr>
          <p:cNvPr id="1026" name="Picture 2" descr="Z:\Sales&amp;Marketing\Z-Graphic Team\_Kreation_Ordner\_NIELSEN\Rebrand_2017_Templates\Logo\n Tab\RGB\PNG\Logo_n_Tab_White_RGB for pp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978" y="1"/>
            <a:ext cx="235260" cy="25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5809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250826" y="0"/>
            <a:ext cx="8893175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57226" y="2099458"/>
            <a:ext cx="8099723" cy="944585"/>
          </a:xfrm>
        </p:spPr>
        <p:txBody>
          <a:bodyPr wrap="square" anchor="ctr">
            <a:spAutoFit/>
          </a:bodyPr>
          <a:lstStyle>
            <a:lvl1pPr>
              <a:lnSpc>
                <a:spcPct val="93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pic>
        <p:nvPicPr>
          <p:cNvPr id="6" name="Picture 3" descr="Z:\Sales&amp;Marketing\Z-Graphic Team\_Kreation_Ordner\_NIELSEN\Rebrand_2017_Templates\Logo\n Tab\RGB\PNG\Logo_n_Tab_Blue_RGB for pp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800" y="1"/>
            <a:ext cx="236754" cy="25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17403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50826" y="0"/>
            <a:ext cx="8893175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7" name="Text Box 17"/>
          <p:cNvSpPr txBox="1">
            <a:spLocks noChangeArrowheads="1"/>
          </p:cNvSpPr>
          <p:nvPr/>
        </p:nvSpPr>
        <p:spPr bwMode="auto">
          <a:xfrm>
            <a:off x="8916086" y="4947603"/>
            <a:ext cx="89768" cy="135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27000" rIns="0" bIns="27000" anchor="b" anchorCtr="0">
            <a:spAutoFit/>
          </a:bodyPr>
          <a:lstStyle/>
          <a:p>
            <a:pPr algn="r" defTabSz="685800">
              <a:spcBef>
                <a:spcPts val="0"/>
              </a:spcBef>
            </a:pPr>
            <a:fld id="{0D7D805D-F6E5-43ED-9D8A-77676030D49C}" type="slidenum">
              <a:rPr lang="de-DE" sz="525" b="0" noProof="0" smtClean="0">
                <a:solidFill>
                  <a:schemeClr val="tx1"/>
                </a:solidFill>
                <a:latin typeface="+mn-lt"/>
              </a:rPr>
              <a:pPr algn="r" defTabSz="685800">
                <a:spcBef>
                  <a:spcPts val="0"/>
                </a:spcBef>
              </a:pPr>
              <a:t>‹#›</a:t>
            </a:fld>
            <a:endParaRPr lang="de-DE" sz="525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57225" y="796500"/>
            <a:ext cx="8100000" cy="1655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050"/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/>
              <a:t>Titelmasterformat durch Klicken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8" name="Picture 3" descr="Z:\Sales&amp;Marketing\Z-Graphic Team\_Kreation_Ordner\_NIELSEN\Rebrand_2017_Templates\Logo\n Tab\RGB\PNG\Logo_n_Tab_Blue_RGB for pp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800" y="1"/>
            <a:ext cx="236754" cy="25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9"/>
          <p:cNvSpPr/>
          <p:nvPr userDrawn="1"/>
        </p:nvSpPr>
        <p:spPr bwMode="gray">
          <a:xfrm rot="16200000">
            <a:off x="-878034" y="3989290"/>
            <a:ext cx="2001510" cy="161583"/>
          </a:xfrm>
          <a:prstGeom prst="rect">
            <a:avLst/>
          </a:prstGeom>
        </p:spPr>
        <p:txBody>
          <a:bodyPr wrap="none" lIns="0" anchor="ctr">
            <a:spAutoFit/>
          </a:bodyPr>
          <a:lstStyle/>
          <a:p>
            <a:pPr algn="l" defTabSz="685800">
              <a:spcBef>
                <a:spcPct val="50000"/>
              </a:spcBef>
            </a:pPr>
            <a:r>
              <a:rPr lang="de-DE" sz="450" noProof="0" dirty="0">
                <a:solidFill>
                  <a:srgbClr val="FFFFFF"/>
                </a:solidFill>
                <a:latin typeface="+mn-lt"/>
                <a:cs typeface="Calibri"/>
              </a:rPr>
              <a:t>Copyright ©2017</a:t>
            </a:r>
            <a:r>
              <a:rPr lang="de-DE" sz="450" baseline="0" noProof="0" dirty="0">
                <a:solidFill>
                  <a:srgbClr val="FFFFFF"/>
                </a:solidFill>
                <a:latin typeface="+mn-lt"/>
                <a:cs typeface="Calibri"/>
              </a:rPr>
              <a:t> </a:t>
            </a:r>
            <a:r>
              <a:rPr lang="de-DE" sz="450" noProof="0" dirty="0">
                <a:solidFill>
                  <a:srgbClr val="FFFFFF"/>
                </a:solidFill>
                <a:latin typeface="+mn-lt"/>
                <a:cs typeface="Calibri"/>
              </a:rPr>
              <a:t> The </a:t>
            </a:r>
            <a:r>
              <a:rPr lang="de-DE" sz="450" noProof="0">
                <a:solidFill>
                  <a:srgbClr val="FFFFFF"/>
                </a:solidFill>
                <a:latin typeface="+mn-lt"/>
                <a:cs typeface="Calibri"/>
              </a:rPr>
              <a:t>Nielsen Company. </a:t>
            </a:r>
            <a:r>
              <a:rPr lang="de-DE" sz="450" noProof="0" dirty="0">
                <a:solidFill>
                  <a:srgbClr val="FFFFFF"/>
                </a:solidFill>
                <a:latin typeface="+mn-lt"/>
                <a:cs typeface="Calibri"/>
              </a:rPr>
              <a:t>Confidential </a:t>
            </a:r>
            <a:r>
              <a:rPr lang="de-DE" sz="450" noProof="0">
                <a:solidFill>
                  <a:srgbClr val="FFFFFF"/>
                </a:solidFill>
                <a:latin typeface="+mn-lt"/>
                <a:cs typeface="Calibri"/>
              </a:rPr>
              <a:t>and proprietary.</a:t>
            </a:r>
            <a:endParaRPr lang="de-DE" sz="450" noProof="0" dirty="0">
              <a:solidFill>
                <a:srgbClr val="FFFFFF"/>
              </a:solidFill>
              <a:latin typeface="+mn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41112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2;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250826" y="0"/>
            <a:ext cx="8893175" cy="51435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noProof="0" dirty="0"/>
          </a:p>
        </p:txBody>
      </p:sp>
      <p:sp>
        <p:nvSpPr>
          <p:cNvPr id="3" name="Text Box 17"/>
          <p:cNvSpPr txBox="1">
            <a:spLocks noChangeArrowheads="1"/>
          </p:cNvSpPr>
          <p:nvPr/>
        </p:nvSpPr>
        <p:spPr bwMode="auto">
          <a:xfrm>
            <a:off x="8916086" y="4947603"/>
            <a:ext cx="89768" cy="135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27000" rIns="0" bIns="27000" anchor="b" anchorCtr="0">
            <a:spAutoFit/>
          </a:bodyPr>
          <a:lstStyle/>
          <a:p>
            <a:pPr algn="r" defTabSz="685800">
              <a:spcBef>
                <a:spcPts val="0"/>
              </a:spcBef>
            </a:pPr>
            <a:fld id="{0D7D805D-F6E5-43ED-9D8A-77676030D49C}" type="slidenum">
              <a:rPr lang="de-DE" sz="525" b="0" noProof="0" smtClean="0">
                <a:solidFill>
                  <a:schemeClr val="tx1"/>
                </a:solidFill>
                <a:latin typeface="+mn-lt"/>
              </a:rPr>
              <a:pPr algn="r" defTabSz="685800">
                <a:spcBef>
                  <a:spcPts val="0"/>
                </a:spcBef>
              </a:pPr>
              <a:t>‹#›</a:t>
            </a:fld>
            <a:endParaRPr lang="de-DE" sz="525" b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58800" y="1266587"/>
            <a:ext cx="8102600" cy="3532823"/>
          </a:xfrm>
          <a:prstGeom prst="rect">
            <a:avLst/>
          </a:prstGeom>
        </p:spPr>
        <p:txBody>
          <a:bodyPr lIns="0" tIns="0" rIns="0" bIns="0" numCol="2" spcCol="18000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58800" y="796500"/>
            <a:ext cx="8100000" cy="1558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Bef>
                <a:spcPts val="0"/>
              </a:spcBef>
              <a:defRPr sz="1050"/>
            </a:lvl1pPr>
          </a:lstStyle>
          <a:p>
            <a:pPr lvl="0"/>
            <a:r>
              <a:rPr lang="de-DE" noProof="0" dirty="0"/>
              <a:t>Untertitel bearbeit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1" name="Picture 3" descr="Z:\Sales&amp;Marketing\Z-Graphic Team\_Kreation_Ordner\_NIELSEN\Rebrand_2017_Templates\Logo\n Tab\RGB\PNG\Logo_n_Tab_Blue_RGB for pp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800" y="1"/>
            <a:ext cx="236754" cy="253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 bwMode="gray">
          <a:xfrm rot="16200000">
            <a:off x="-878034" y="3989290"/>
            <a:ext cx="2001510" cy="161583"/>
          </a:xfrm>
          <a:prstGeom prst="rect">
            <a:avLst/>
          </a:prstGeom>
        </p:spPr>
        <p:txBody>
          <a:bodyPr wrap="none" lIns="0" anchor="ctr">
            <a:spAutoFit/>
          </a:bodyPr>
          <a:lstStyle/>
          <a:p>
            <a:pPr algn="l" defTabSz="685800">
              <a:spcBef>
                <a:spcPct val="50000"/>
              </a:spcBef>
            </a:pPr>
            <a:r>
              <a:rPr lang="de-DE" sz="450" noProof="0" dirty="0">
                <a:solidFill>
                  <a:srgbClr val="FFFFFF"/>
                </a:solidFill>
                <a:latin typeface="+mn-lt"/>
                <a:cs typeface="Calibri"/>
              </a:rPr>
              <a:t>Copyright ©2017</a:t>
            </a:r>
            <a:r>
              <a:rPr lang="de-DE" sz="450" baseline="0" noProof="0" dirty="0">
                <a:solidFill>
                  <a:srgbClr val="FFFFFF"/>
                </a:solidFill>
                <a:latin typeface="+mn-lt"/>
                <a:cs typeface="Calibri"/>
              </a:rPr>
              <a:t> </a:t>
            </a:r>
            <a:r>
              <a:rPr lang="de-DE" sz="450" noProof="0" dirty="0">
                <a:solidFill>
                  <a:srgbClr val="FFFFFF"/>
                </a:solidFill>
                <a:latin typeface="+mn-lt"/>
                <a:cs typeface="Calibri"/>
              </a:rPr>
              <a:t> The </a:t>
            </a:r>
            <a:r>
              <a:rPr lang="de-DE" sz="450" noProof="0">
                <a:solidFill>
                  <a:srgbClr val="FFFFFF"/>
                </a:solidFill>
                <a:latin typeface="+mn-lt"/>
                <a:cs typeface="Calibri"/>
              </a:rPr>
              <a:t>Nielsen Company. </a:t>
            </a:r>
            <a:r>
              <a:rPr lang="de-DE" sz="450" noProof="0" dirty="0">
                <a:solidFill>
                  <a:srgbClr val="FFFFFF"/>
                </a:solidFill>
                <a:latin typeface="+mn-lt"/>
                <a:cs typeface="Calibri"/>
              </a:rPr>
              <a:t>Confidential </a:t>
            </a:r>
            <a:r>
              <a:rPr lang="de-DE" sz="450" noProof="0">
                <a:solidFill>
                  <a:srgbClr val="FFFFFF"/>
                </a:solidFill>
                <a:latin typeface="+mn-lt"/>
                <a:cs typeface="Calibri"/>
              </a:rPr>
              <a:t>and proprietary.</a:t>
            </a:r>
            <a:endParaRPr lang="de-DE" sz="450" noProof="0" dirty="0">
              <a:solidFill>
                <a:srgbClr val="FFFFFF"/>
              </a:solidFill>
              <a:latin typeface="+mn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46148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Aqu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Background pattern&#10;&#10;Description automatically generated">
            <a:extLst>
              <a:ext uri="{FF2B5EF4-FFF2-40B4-BE49-F238E27FC236}">
                <a16:creationId xmlns:a16="http://schemas.microsoft.com/office/drawing/2014/main" id="{F91AD995-F2FC-4887-99CC-93E07F1ABF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B8BFF53-87AA-48F2-8E6F-F9BC85832775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198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urpl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 pattern&#10;&#10;Description automatically generated">
            <a:extLst>
              <a:ext uri="{FF2B5EF4-FFF2-40B4-BE49-F238E27FC236}">
                <a16:creationId xmlns:a16="http://schemas.microsoft.com/office/drawing/2014/main" id="{FFD97069-BE7F-41F4-B19A-C1C423D4D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569"/>
            <a:ext cx="9144000" cy="51403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1101090"/>
            <a:ext cx="8353425" cy="438582"/>
          </a:xfrm>
        </p:spPr>
        <p:txBody>
          <a:bodyPr wrap="square" anchor="t">
            <a:spAutoFit/>
          </a:bodyPr>
          <a:lstStyle>
            <a:lvl1pPr>
              <a:lnSpc>
                <a:spcPct val="95000"/>
              </a:lnSpc>
              <a:defRPr sz="3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10B2E-304C-4102-AA6D-D120A50E96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oogle Shape;117;p20">
            <a:extLst>
              <a:ext uri="{FF2B5EF4-FFF2-40B4-BE49-F238E27FC236}">
                <a16:creationId xmlns:a16="http://schemas.microsoft.com/office/drawing/2014/main" id="{C024E1BC-E259-4D8E-A010-CBFBBD822FC2}"/>
              </a:ext>
            </a:extLst>
          </p:cNvPr>
          <p:cNvPicPr preferRelativeResize="0"/>
          <p:nvPr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3000962-0060-4377-8808-1BCC685EDB90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0001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 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6;p15">
            <a:extLst>
              <a:ext uri="{FF2B5EF4-FFF2-40B4-BE49-F238E27FC236}">
                <a16:creationId xmlns:a16="http://schemas.microsoft.com/office/drawing/2014/main" id="{494C8073-6526-4D41-8FF6-39DEC66D1433}"/>
              </a:ext>
            </a:extLst>
          </p:cNvPr>
          <p:cNvSpPr/>
          <p:nvPr/>
        </p:nvSpPr>
        <p:spPr>
          <a:xfrm>
            <a:off x="0" y="0"/>
            <a:ext cx="3851275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BE5862F-C5FC-4AD6-A5D6-B0E25EE601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97F6DE-6CC4-49D2-BC3C-650CF4650C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8463" y="1999806"/>
            <a:ext cx="3128962" cy="701731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ts val="0"/>
              </a:spcBef>
              <a:buNone/>
              <a:defRPr lang="en-US" sz="2400" b="1" kern="1200" cap="none" spc="-5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1DED56-415F-43A7-8FCB-815C8C840B8C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), LLC. Confidential and proprietary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307802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/Subtitle - Nav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580762"/>
            <a:ext cx="8351045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Proposal‘s name, January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B9943A-8FFE-4C60-9517-AF2D14F6B3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19558B-AB4F-41DC-851E-A087A981A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41200"/>
            <a:ext cx="8350797" cy="292388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Google Shape;117;p20">
            <a:extLst>
              <a:ext uri="{FF2B5EF4-FFF2-40B4-BE49-F238E27FC236}">
                <a16:creationId xmlns:a16="http://schemas.microsoft.com/office/drawing/2014/main" id="{8A9DE1F0-072F-4B17-96BB-03CED8D70CA9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17;p20">
            <a:extLst>
              <a:ext uri="{FF2B5EF4-FFF2-40B4-BE49-F238E27FC236}">
                <a16:creationId xmlns:a16="http://schemas.microsoft.com/office/drawing/2014/main" id="{278A11BD-8682-4BBB-A1DA-C19C5F82E5F3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1411855-3B9A-4787-B4E6-DD88B389C814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>
              <a:spcBef>
                <a:spcPts val="100"/>
              </a:spcBef>
              <a:defRPr/>
            </a:pPr>
            <a:r>
              <a:rPr lang="en-US" sz="550" dirty="0">
                <a:solidFill>
                  <a:srgbClr val="FFFFFF"/>
                </a:solidFill>
                <a:cs typeface="Calibri"/>
              </a:rPr>
              <a:t>Copyright © 2023 The Nielsen Company (US), LLC. Confidential and proprietary. Do not distribute.</a:t>
            </a:r>
          </a:p>
        </p:txBody>
      </p:sp>
    </p:spTree>
    <p:extLst>
      <p:ext uri="{BB962C8B-B14F-4D97-AF65-F5344CB8AC3E}">
        <p14:creationId xmlns:p14="http://schemas.microsoft.com/office/powerpoint/2010/main" val="375919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738000"/>
            <a:ext cx="835104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400"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0CF50A-1E62-4317-B9E0-928A2F7750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78B80-DA3B-453E-BD15-DF6987387BE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306315F-66DD-4F37-8805-681473BF0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CAD678-1DFA-4BCC-A403-293E073C4F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5" y="1275606"/>
            <a:ext cx="8351838" cy="33487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51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0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theme" Target="../theme/theme2.xml"/><Relationship Id="rId45" Type="http://schemas.openxmlformats.org/officeDocument/2006/relationships/image" Target="../media/image29.emf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oleObject" Target="../embeddings/oleObject2.bin"/><Relationship Id="rId20" Type="http://schemas.openxmlformats.org/officeDocument/2006/relationships/slideLayout" Target="../slideLayouts/slideLayout73.xml"/><Relationship Id="rId41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334800"/>
            <a:ext cx="8351045" cy="3508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96000" y="4705200"/>
            <a:ext cx="7308303" cy="157342"/>
          </a:xfrm>
          <a:prstGeom prst="rect">
            <a:avLst/>
          </a:prstGeom>
        </p:spPr>
        <p:txBody>
          <a:bodyPr vert="horz" wrap="square" lIns="0" tIns="36000" rIns="0" bIns="36000" rtlCol="0" anchor="b">
            <a:spAutoFit/>
          </a:bodyPr>
          <a:lstStyle>
            <a:lvl1pPr algn="l">
              <a:lnSpc>
                <a:spcPct val="100000"/>
              </a:lnSpc>
              <a:defRPr sz="55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0" y="4878000"/>
            <a:ext cx="395288" cy="1573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600">
                <a:solidFill>
                  <a:srgbClr val="002041"/>
                </a:solidFill>
                <a:latin typeface="+mn-lt"/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152E8A-BAAA-4C5C-B00F-566C4F360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000" y="1323978"/>
            <a:ext cx="8351045" cy="33004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Google Shape;8;p1">
            <a:extLst>
              <a:ext uri="{FF2B5EF4-FFF2-40B4-BE49-F238E27FC236}">
                <a16:creationId xmlns:a16="http://schemas.microsoft.com/office/drawing/2014/main" id="{82ABDF49-13CC-4C84-A23C-93CCB49CEDB7}"/>
              </a:ext>
            </a:extLst>
          </p:cNvPr>
          <p:cNvPicPr preferRelativeResize="0"/>
          <p:nvPr userDrawn="1"/>
        </p:nvPicPr>
        <p:blipFill>
          <a:blip r:embed="rId55">
            <a:alphaModFix/>
          </a:blip>
          <a:stretch>
            <a:fillRect/>
          </a:stretch>
        </p:blipFill>
        <p:spPr>
          <a:xfrm>
            <a:off x="8096782" y="4814874"/>
            <a:ext cx="813815" cy="14008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4825F0B-A32F-4DC1-AC54-9C2179A194CC}"/>
              </a:ext>
            </a:extLst>
          </p:cNvPr>
          <p:cNvSpPr/>
          <p:nvPr userDrawn="1"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rgbClr val="00204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rgbClr val="00204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23768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749" r:id="rId6"/>
    <p:sldLayoutId id="2147483792" r:id="rId7"/>
    <p:sldLayoutId id="2147483793" r:id="rId8"/>
    <p:sldLayoutId id="2147483803" r:id="rId9"/>
    <p:sldLayoutId id="2147483760" r:id="rId10"/>
    <p:sldLayoutId id="2147483794" r:id="rId11"/>
    <p:sldLayoutId id="2147483807" r:id="rId12"/>
    <p:sldLayoutId id="2147483795" r:id="rId13"/>
    <p:sldLayoutId id="2147483762" r:id="rId14"/>
    <p:sldLayoutId id="2147483761" r:id="rId15"/>
    <p:sldLayoutId id="2147483763" r:id="rId16"/>
    <p:sldLayoutId id="2147483764" r:id="rId17"/>
    <p:sldLayoutId id="2147483766" r:id="rId18"/>
    <p:sldLayoutId id="2147483765" r:id="rId19"/>
    <p:sldLayoutId id="2147483679" r:id="rId20"/>
    <p:sldLayoutId id="2147483680" r:id="rId21"/>
    <p:sldLayoutId id="2147483757" r:id="rId22"/>
    <p:sldLayoutId id="2147483780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68" r:id="rId30"/>
    <p:sldLayoutId id="2147483744" r:id="rId31"/>
    <p:sldLayoutId id="2147483753" r:id="rId32"/>
    <p:sldLayoutId id="2147483754" r:id="rId33"/>
    <p:sldLayoutId id="2147483755" r:id="rId34"/>
    <p:sldLayoutId id="2147483756" r:id="rId35"/>
    <p:sldLayoutId id="2147483821" r:id="rId36"/>
    <p:sldLayoutId id="2147483743" r:id="rId37"/>
    <p:sldLayoutId id="2147483737" r:id="rId38"/>
    <p:sldLayoutId id="2147483773" r:id="rId39"/>
    <p:sldLayoutId id="2147483774" r:id="rId40"/>
    <p:sldLayoutId id="2147483775" r:id="rId41"/>
    <p:sldLayoutId id="2147483779" r:id="rId42"/>
    <p:sldLayoutId id="2147483776" r:id="rId43"/>
    <p:sldLayoutId id="2147483777" r:id="rId44"/>
    <p:sldLayoutId id="2147483778" r:id="rId45"/>
    <p:sldLayoutId id="2147483751" r:id="rId46"/>
    <p:sldLayoutId id="2147483791" r:id="rId47"/>
    <p:sldLayoutId id="2147483804" r:id="rId48"/>
    <p:sldLayoutId id="2147483805" r:id="rId49"/>
    <p:sldLayoutId id="2147483806" r:id="rId50"/>
    <p:sldLayoutId id="2147483688" r:id="rId51"/>
    <p:sldLayoutId id="2147483862" r:id="rId52"/>
    <p:sldLayoutId id="2147483864" r:id="rId53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buNone/>
        <a:defRPr sz="2400" b="1" kern="1200" cap="none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2000"/>
        </a:lnSpc>
        <a:spcBef>
          <a:spcPts val="6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1pPr>
      <a:lvl2pPr marL="138113" indent="-138113" algn="l" defTabSz="914400" rtl="0" eaLnBrk="1" latinLnBrk="0" hangingPunct="1">
        <a:lnSpc>
          <a:spcPct val="102000"/>
        </a:lnSpc>
        <a:spcBef>
          <a:spcPts val="500"/>
        </a:spcBef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266700" indent="-123825" algn="l" defTabSz="914400" rtl="0" eaLnBrk="1" latinLnBrk="0" hangingPunct="1">
        <a:lnSpc>
          <a:spcPct val="102000"/>
        </a:lnSpc>
        <a:spcBef>
          <a:spcPts val="300"/>
        </a:spcBef>
        <a:buSzPct val="10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j-lt"/>
          <a:ea typeface="+mn-ea"/>
          <a:cs typeface="+mn-cs"/>
        </a:defRPr>
      </a:lvl3pPr>
      <a:lvl4pPr marL="361950" indent="-95250" algn="l" defTabSz="914400" rtl="0" eaLnBrk="1" latinLnBrk="0" hangingPunct="1">
        <a:lnSpc>
          <a:spcPct val="102000"/>
        </a:lnSpc>
        <a:spcBef>
          <a:spcPts val="100"/>
        </a:spcBef>
        <a:buFont typeface="Arial" panose="020B0604020202020204" pitchFamily="34" charset="0"/>
        <a:buChar char="•"/>
        <a:defRPr sz="1000" b="0" kern="1200" cap="none" baseline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400" b="1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9" userDrawn="1">
          <p15:clr>
            <a:srgbClr val="C35EA4"/>
          </p15:clr>
        </p15:guide>
        <p15:guide id="2" pos="5511" userDrawn="1">
          <p15:clr>
            <a:srgbClr val="C35EA4"/>
          </p15:clr>
        </p15:guide>
        <p15:guide id="3" orient="horz" pos="2913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536" y="241200"/>
            <a:ext cx="8350797" cy="2923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  <a:endParaRPr lang="en-US" noProof="0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396000" y="4705200"/>
            <a:ext cx="7308303" cy="157342"/>
          </a:xfrm>
          <a:prstGeom prst="rect">
            <a:avLst/>
          </a:prstGeom>
        </p:spPr>
        <p:txBody>
          <a:bodyPr vert="horz" wrap="square" lIns="0" tIns="36000" rIns="0" bIns="36000" rtlCol="0" anchor="b">
            <a:spAutoFit/>
          </a:bodyPr>
          <a:lstStyle>
            <a:lvl1pPr algn="l">
              <a:lnSpc>
                <a:spcPct val="100000"/>
              </a:lnSpc>
              <a:defRPr sz="55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0" y="4876574"/>
            <a:ext cx="395288" cy="15734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fld id="{70B9943A-8FFE-4C60-9517-AF2D14F6B3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F152E8A-BAAA-4C5C-B00F-566C4F3606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5289" y="1323978"/>
            <a:ext cx="8353424" cy="33004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pic>
        <p:nvPicPr>
          <p:cNvPr id="11" name="Google Shape;8;p1">
            <a:extLst>
              <a:ext uri="{FF2B5EF4-FFF2-40B4-BE49-F238E27FC236}">
                <a16:creationId xmlns:a16="http://schemas.microsoft.com/office/drawing/2014/main" id="{82ABDF49-13CC-4C84-A23C-93CCB49CEDB7}"/>
              </a:ext>
            </a:extLst>
          </p:cNvPr>
          <p:cNvPicPr preferRelativeResize="0"/>
          <p:nvPr/>
        </p:nvPicPr>
        <p:blipFill>
          <a:blip r:embed="rId43">
            <a:alphaModFix/>
          </a:blip>
          <a:stretch>
            <a:fillRect/>
          </a:stretch>
        </p:blipFill>
        <p:spPr>
          <a:xfrm>
            <a:off x="8096782" y="4814874"/>
            <a:ext cx="813815" cy="14008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8807358-3087-4993-BB4A-F92639F92A9B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388418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70" imgH="469" progId="TCLayout.ActiveDocument.1">
                  <p:embed/>
                </p:oleObj>
              </mc:Choice>
              <mc:Fallback>
                <p:oleObj name="think-cell Slide" r:id="rId4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8807358-3087-4993-BB4A-F92639F92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EA03F74-8BA7-43BD-AFED-1AB8A407ADF3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pyright © 2023 The Nielsen Company (US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), LLC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Confidential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and proprietary.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Do </a:t>
            </a:r>
            <a:r>
              <a:rPr kumimoji="0" lang="en-US" sz="5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Calibri"/>
              </a:rPr>
              <a:t>not distribute.</a:t>
            </a:r>
            <a:endParaRPr kumimoji="0" lang="en-US" sz="5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Calibri"/>
            </a:endParaRP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362DD4D-5ECD-42DB-B5B5-ED3AD9EC850C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70018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70" imgH="469" progId="TCLayout.ActiveDocument.1">
                  <p:embed/>
                </p:oleObj>
              </mc:Choice>
              <mc:Fallback>
                <p:oleObj name="think-cell Slide" r:id="rId46" imgW="470" imgH="46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362DD4D-5ECD-42DB-B5B5-ED3AD9EC8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8673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  <p:sldLayoutId id="2147483844" r:id="rId22"/>
    <p:sldLayoutId id="2147483845" r:id="rId23"/>
    <p:sldLayoutId id="2147483846" r:id="rId24"/>
    <p:sldLayoutId id="2147483847" r:id="rId25"/>
    <p:sldLayoutId id="2147483848" r:id="rId26"/>
    <p:sldLayoutId id="2147483849" r:id="rId27"/>
    <p:sldLayoutId id="2147483850" r:id="rId28"/>
    <p:sldLayoutId id="2147483851" r:id="rId29"/>
    <p:sldLayoutId id="2147483852" r:id="rId30"/>
    <p:sldLayoutId id="2147483853" r:id="rId31"/>
    <p:sldLayoutId id="2147483854" r:id="rId32"/>
    <p:sldLayoutId id="2147483855" r:id="rId33"/>
    <p:sldLayoutId id="2147483856" r:id="rId34"/>
    <p:sldLayoutId id="2147483857" r:id="rId35"/>
    <p:sldLayoutId id="2147483858" r:id="rId36"/>
    <p:sldLayoutId id="2147483859" r:id="rId37"/>
    <p:sldLayoutId id="2147483863" r:id="rId38"/>
    <p:sldLayoutId id="2147483865" r:id="rId39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ts val="0"/>
        </a:spcBef>
        <a:buNone/>
        <a:defRPr sz="2000" b="1" kern="1200" cap="none" spc="-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2000"/>
        </a:lnSpc>
        <a:spcBef>
          <a:spcPts val="50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+mj-lt"/>
          <a:ea typeface="+mn-ea"/>
          <a:cs typeface="+mn-cs"/>
        </a:defRPr>
      </a:lvl1pPr>
      <a:lvl2pPr marL="92075" indent="-92075" algn="l" defTabSz="914400" rtl="0" eaLnBrk="1" latinLnBrk="0" hangingPunct="1">
        <a:lnSpc>
          <a:spcPct val="102000"/>
        </a:lnSpc>
        <a:spcBef>
          <a:spcPts val="500"/>
        </a:spcBef>
        <a:buSzPct val="100000"/>
        <a:buFont typeface="Arial Narrow" panose="020B0606020202030204" pitchFamily="34" charset="0"/>
        <a:buChar char="-"/>
        <a:defRPr sz="900" kern="1200">
          <a:solidFill>
            <a:schemeClr val="tx1"/>
          </a:solidFill>
          <a:latin typeface="+mj-lt"/>
          <a:ea typeface="+mn-ea"/>
          <a:cs typeface="+mn-cs"/>
        </a:defRPr>
      </a:lvl2pPr>
      <a:lvl3pPr marL="176213" indent="-84138" algn="l" defTabSz="914400" rtl="0" eaLnBrk="1" latinLnBrk="0" hangingPunct="1">
        <a:lnSpc>
          <a:spcPct val="102000"/>
        </a:lnSpc>
        <a:spcBef>
          <a:spcPts val="200"/>
        </a:spcBef>
        <a:buSzPct val="100000"/>
        <a:buFont typeface="Arial Narrow" panose="020B0606020202030204" pitchFamily="34" charset="0"/>
        <a:buChar char="-"/>
        <a:defRPr sz="900" kern="1200">
          <a:solidFill>
            <a:schemeClr val="tx1"/>
          </a:solidFill>
          <a:latin typeface="+mj-lt"/>
          <a:ea typeface="+mn-ea"/>
          <a:cs typeface="+mn-cs"/>
        </a:defRPr>
      </a:lvl3pPr>
      <a:lvl4pPr marL="268288" indent="-92075" algn="l" defTabSz="914400" rtl="0" eaLnBrk="1" latinLnBrk="0" hangingPunct="1">
        <a:lnSpc>
          <a:spcPct val="102000"/>
        </a:lnSpc>
        <a:spcBef>
          <a:spcPts val="0"/>
        </a:spcBef>
        <a:buFont typeface="Arial Narrow" panose="020B0606020202030204" pitchFamily="34" charset="0"/>
        <a:buChar char="-"/>
        <a:defRPr sz="800" b="0" kern="1200" cap="none" baseline="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100" b="1" kern="1200" spc="-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9">
          <p15:clr>
            <a:srgbClr val="C35EA4"/>
          </p15:clr>
        </p15:guide>
        <p15:guide id="2" pos="5511">
          <p15:clr>
            <a:srgbClr val="C35EA4"/>
          </p15:clr>
        </p15:guide>
        <p15:guide id="3" orient="horz" pos="2913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2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40.png"/><Relationship Id="rId4" Type="http://schemas.openxmlformats.org/officeDocument/2006/relationships/image" Target="../media/image6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3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microsoft.com/office/2007/relationships/hdphoto" Target="../media/hdphoto1.wdp"/><Relationship Id="rId4" Type="http://schemas.openxmlformats.org/officeDocument/2006/relationships/image" Target="../media/image38.png"/><Relationship Id="rId9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90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7.jpeg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90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1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38.png"/><Relationship Id="rId7" Type="http://schemas.openxmlformats.org/officeDocument/2006/relationships/image" Target="../media/image46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40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.xml"/><Relationship Id="rId6" Type="http://schemas.openxmlformats.org/officeDocument/2006/relationships/image" Target="../media/image50.jp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7.jpe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microsoft.com/office/2007/relationships/hdphoto" Target="../media/hdphoto2.wdp"/><Relationship Id="rId5" Type="http://schemas.openxmlformats.org/officeDocument/2006/relationships/image" Target="../media/image54.png"/><Relationship Id="rId10" Type="http://schemas.openxmlformats.org/officeDocument/2006/relationships/image" Target="../media/image56.png"/><Relationship Id="rId4" Type="http://schemas.openxmlformats.org/officeDocument/2006/relationships/image" Target="../media/image53.png"/><Relationship Id="rId9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8.jpeg"/><Relationship Id="rId2" Type="http://schemas.openxmlformats.org/officeDocument/2006/relationships/tags" Target="../tags/tag5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57.jpe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1.xml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9.png"/><Relationship Id="rId5" Type="http://schemas.openxmlformats.org/officeDocument/2006/relationships/image" Target="../media/image40.png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9E693-B8AF-4C4D-A9BF-6A2FB4431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1523052"/>
            <a:ext cx="5944553" cy="1412694"/>
          </a:xfrm>
        </p:spPr>
        <p:txBody>
          <a:bodyPr/>
          <a:lstStyle/>
          <a:p>
            <a:pPr>
              <a:buSzPts val="3400"/>
            </a:pPr>
            <a:r>
              <a:rPr lang="de-DE" dirty="0"/>
              <a:t>How to balance brand-building and the need for short-term reven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D85EEB-DE3D-42CF-899A-F0A0E03390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5287" y="2983575"/>
            <a:ext cx="5944553" cy="215444"/>
          </a:xfrm>
        </p:spPr>
        <p:txBody>
          <a:bodyPr/>
          <a:lstStyle/>
          <a:p>
            <a:r>
              <a:rPr lang="de-DE" b="0" dirty="0"/>
              <a:t>Felix Boronczyk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6F2710-23AD-4BE9-B788-83644669FD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287" y="4512155"/>
            <a:ext cx="4579125" cy="305405"/>
          </a:xfrm>
        </p:spPr>
        <p:txBody>
          <a:bodyPr/>
          <a:lstStyle/>
          <a:p>
            <a:r>
              <a:rPr lang="de-DE" b="0" dirty="0"/>
              <a:t>E.H.C. Hockey Business Forum 2023 </a:t>
            </a:r>
            <a:br>
              <a:rPr lang="de-DE" b="0" dirty="0"/>
            </a:br>
            <a:r>
              <a:rPr lang="de-DE" dirty="0"/>
              <a:t>28 September 2023</a:t>
            </a:r>
          </a:p>
        </p:txBody>
      </p:sp>
    </p:spTree>
    <p:extLst>
      <p:ext uri="{BB962C8B-B14F-4D97-AF65-F5344CB8AC3E}">
        <p14:creationId xmlns:p14="http://schemas.microsoft.com/office/powerpoint/2010/main" val="11615246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>
            <a:extLst>
              <a:ext uri="{FF2B5EF4-FFF2-40B4-BE49-F238E27FC236}">
                <a16:creationId xmlns:a16="http://schemas.microsoft.com/office/drawing/2014/main" id="{F18AAB44-D624-FB55-2AB4-93A6BAE364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7" t="156" r="39558" b="-156"/>
          <a:stretch/>
        </p:blipFill>
        <p:spPr bwMode="auto">
          <a:xfrm>
            <a:off x="5364088" y="8009"/>
            <a:ext cx="3779912" cy="514349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8">
            <a:extLst>
              <a:ext uri="{FF2B5EF4-FFF2-40B4-BE49-F238E27FC236}">
                <a16:creationId xmlns:a16="http://schemas.microsoft.com/office/drawing/2014/main" id="{4E89CBAC-95C7-8F27-B011-B5B150E30ACE}"/>
              </a:ext>
            </a:extLst>
          </p:cNvPr>
          <p:cNvSpPr/>
          <p:nvPr/>
        </p:nvSpPr>
        <p:spPr>
          <a:xfrm>
            <a:off x="4123887" y="1"/>
            <a:ext cx="2590453" cy="5143499"/>
          </a:xfrm>
          <a:custGeom>
            <a:avLst/>
            <a:gdLst/>
            <a:ahLst/>
            <a:cxnLst/>
            <a:rect l="l" t="t" r="r" b="b"/>
            <a:pathLst>
              <a:path w="2054201" h="5143499">
                <a:moveTo>
                  <a:pt x="0" y="0"/>
                </a:moveTo>
                <a:lnTo>
                  <a:pt x="2054201" y="0"/>
                </a:lnTo>
                <a:lnTo>
                  <a:pt x="1147263" y="5143499"/>
                </a:lnTo>
                <a:lnTo>
                  <a:pt x="0" y="51434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89B8D1B-0F75-A8D2-CF0F-6B44B46B14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Commercialization and club brand build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D1069C-6E8C-9CD5-EC81-3700ABB6FBA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A14401E-AFB7-230D-2586-2F386133D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34800"/>
            <a:ext cx="8351045" cy="292388"/>
          </a:xfrm>
        </p:spPr>
        <p:txBody>
          <a:bodyPr/>
          <a:lstStyle/>
          <a:p>
            <a:r>
              <a:rPr lang="en-US" sz="2000" dirty="0"/>
              <a:t>IV. Protect your club brand ident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88EB8F-674A-84D7-267E-51F7F8D196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565" y="259998"/>
            <a:ext cx="839566" cy="839566"/>
          </a:xfrm>
          <a:prstGeom prst="rect">
            <a:avLst/>
          </a:prstGeom>
        </p:spPr>
      </p:pic>
      <p:sp>
        <p:nvSpPr>
          <p:cNvPr id="12" name="Google Shape;3353;p39">
            <a:extLst>
              <a:ext uri="{FF2B5EF4-FFF2-40B4-BE49-F238E27FC236}">
                <a16:creationId xmlns:a16="http://schemas.microsoft.com/office/drawing/2014/main" id="{E7C1A18F-245F-5132-17E8-7368B4F1D84F}"/>
              </a:ext>
            </a:extLst>
          </p:cNvPr>
          <p:cNvSpPr/>
          <p:nvPr/>
        </p:nvSpPr>
        <p:spPr>
          <a:xfrm>
            <a:off x="438938" y="3291830"/>
            <a:ext cx="5868000" cy="1331569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accent2"/>
                </a:solidFill>
                <a:latin typeface="Inter"/>
                <a:ea typeface="Inter"/>
                <a:cs typeface="Inter"/>
                <a:sym typeface="Inter"/>
              </a:rPr>
              <a:t>Key takeaways for hockey clubs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Protect assets that are of </a:t>
            </a:r>
            <a:r>
              <a:rPr lang="en-US" sz="1300" b="1" dirty="0">
                <a:sym typeface="Wingdings" panose="05000000000000000000" pitchFamily="2" charset="2"/>
              </a:rPr>
              <a:t>high symbolic value </a:t>
            </a:r>
            <a:r>
              <a:rPr lang="en-US" sz="1300" dirty="0">
                <a:sym typeface="Wingdings" panose="05000000000000000000" pitchFamily="2" charset="2"/>
              </a:rPr>
              <a:t>to fans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Consider the </a:t>
            </a:r>
            <a:r>
              <a:rPr lang="en-US" sz="1300" b="1" dirty="0">
                <a:sym typeface="Wingdings" panose="05000000000000000000" pitchFamily="2" charset="2"/>
              </a:rPr>
              <a:t>impact of commercialization on fans’ long-term reactions 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Weigh short-term revenue against the</a:t>
            </a:r>
            <a:r>
              <a:rPr lang="en-US" sz="1300" b="1" dirty="0">
                <a:sym typeface="Wingdings" panose="05000000000000000000" pitchFamily="2" charset="2"/>
              </a:rPr>
              <a:t> value of the club brand 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endParaRPr lang="en-US" sz="1300" b="1" dirty="0">
              <a:sym typeface="Wingdings" panose="05000000000000000000" pitchFamily="2" charset="2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BCFC53-1756-D240-44DE-75CA6AB25BAC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597006"/>
            <a:ext cx="144264" cy="144085"/>
            <a:chOff x="530225" y="1979613"/>
            <a:chExt cx="1284288" cy="12827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BF2EAC4-E248-BD5B-2115-1CA6AF6D7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8FF1A211-FC84-9BCC-6E98-8F192869D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87A28A8-9201-4B40-FD55-3C79A6374B9D}"/>
              </a:ext>
            </a:extLst>
          </p:cNvPr>
          <p:cNvGrpSpPr>
            <a:grpSpLocks noChangeAspect="1"/>
          </p:cNvGrpSpPr>
          <p:nvPr/>
        </p:nvGrpSpPr>
        <p:grpSpPr>
          <a:xfrm>
            <a:off x="508332" y="3981687"/>
            <a:ext cx="144264" cy="144085"/>
            <a:chOff x="530225" y="1979613"/>
            <a:chExt cx="1284288" cy="12827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AC3D062-F2F5-5D3E-A811-A7968CE55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77CCDF62-001E-CAF2-5B33-34E1C7F03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AA4545E-1C08-7BCE-2334-6040D78963BA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782105"/>
            <a:ext cx="144264" cy="144085"/>
            <a:chOff x="530225" y="1979613"/>
            <a:chExt cx="1284288" cy="1282700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F02E11D-3BE1-0216-7D1F-5777CF800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3650D35-F78B-5667-4395-E7E50F5B3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91BA952-2932-6F20-47BC-41A8F5E534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5" y="1275606"/>
            <a:ext cx="5471269" cy="1911781"/>
          </a:xfrm>
        </p:spPr>
        <p:txBody>
          <a:bodyPr/>
          <a:lstStyle/>
          <a:p>
            <a:pPr marL="342900" marR="0" lvl="2" indent="-34290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-"/>
              <a:tabLst/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The club brand and how fans perceive it </a:t>
            </a:r>
            <a:r>
              <a:rPr lang="en-US" sz="14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is any clubs’ greatest and most important asset!</a:t>
            </a:r>
          </a:p>
          <a:p>
            <a:pPr marL="342900" marR="0" lvl="2" indent="-342900" algn="l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Calibri" panose="020F0502020204030204" pitchFamily="34" charset="0"/>
              <a:buChar char="-"/>
              <a:tabLst/>
              <a:defRPr/>
            </a:pPr>
            <a:endParaRPr lang="en-US" sz="1400" kern="1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/>
            </a:pPr>
            <a:r>
              <a:rPr kumimoji="0" lang="en-US" sz="14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Fans are sensitive to commercialization and </a:t>
            </a:r>
            <a:r>
              <a:rPr lang="en-US" sz="14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tend to react with resistance </a:t>
            </a:r>
            <a:r>
              <a:rPr lang="en-US" sz="8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(e.g., </a:t>
            </a:r>
            <a:r>
              <a:rPr lang="da-DK" sz="800" kern="100" dirty="0">
                <a:solidFill>
                  <a:srgbClr val="000000"/>
                </a:solidFill>
                <a:cs typeface="Times New Roman" panose="02020603050405020304" pitchFamily="18" charset="0"/>
              </a:rPr>
              <a:t>Boronczyk &amp; Zarins, 2022; Woisetschläger et al., 2014)</a:t>
            </a:r>
            <a:endParaRPr lang="en-US" sz="800" kern="10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409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ree 50 Euro Bill on Brown Wooden Table Stock Photo">
            <a:extLst>
              <a:ext uri="{FF2B5EF4-FFF2-40B4-BE49-F238E27FC236}">
                <a16:creationId xmlns:a16="http://schemas.microsoft.com/office/drawing/2014/main" id="{5D5465C4-1083-2C02-7B2D-D5DF4C4251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9"/>
          <a:stretch/>
        </p:blipFill>
        <p:spPr bwMode="auto">
          <a:xfrm rot="16200000">
            <a:off x="2000428" y="-2000428"/>
            <a:ext cx="5143500" cy="914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Rechteck 99"/>
          <p:cNvSpPr/>
          <p:nvPr/>
        </p:nvSpPr>
        <p:spPr bwMode="auto">
          <a:xfrm>
            <a:off x="2" y="-1117"/>
            <a:ext cx="9143998" cy="4628275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899592" y="2291562"/>
            <a:ext cx="1620000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Avoid </a:t>
            </a:r>
            <a:r>
              <a:rPr lang="en-US" sz="1200" b="1" dirty="0">
                <a:solidFill>
                  <a:schemeClr val="accent2"/>
                </a:solidFill>
              </a:rPr>
              <a:t>cluttered sponsorship </a:t>
            </a:r>
            <a:r>
              <a:rPr lang="en-US" sz="1200" b="1" dirty="0">
                <a:solidFill>
                  <a:srgbClr val="FFFFFF"/>
                </a:solidFill>
              </a:rPr>
              <a:t>environments!</a:t>
            </a:r>
          </a:p>
        </p:txBody>
      </p:sp>
      <p:sp>
        <p:nvSpPr>
          <p:cNvPr id="58" name="Rechteck 57"/>
          <p:cNvSpPr/>
          <p:nvPr/>
        </p:nvSpPr>
        <p:spPr bwMode="auto">
          <a:xfrm>
            <a:off x="2693579" y="2291562"/>
            <a:ext cx="1950428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Exploit opportunities arising from </a:t>
            </a:r>
            <a:r>
              <a:rPr lang="en-US" sz="1200" b="1" dirty="0">
                <a:solidFill>
                  <a:schemeClr val="accent2"/>
                </a:solidFill>
              </a:rPr>
              <a:t>technological advances</a:t>
            </a:r>
            <a:r>
              <a:rPr lang="en-US" sz="12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59" name="Rechteck 58"/>
          <p:cNvSpPr/>
          <p:nvPr/>
        </p:nvSpPr>
        <p:spPr bwMode="auto">
          <a:xfrm>
            <a:off x="4768707" y="2291562"/>
            <a:ext cx="1620000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Be deliberate in your </a:t>
            </a:r>
            <a:r>
              <a:rPr lang="en-US" sz="1200" b="1" dirty="0">
                <a:solidFill>
                  <a:schemeClr val="accent2"/>
                </a:solidFill>
              </a:rPr>
              <a:t>partner selection</a:t>
            </a:r>
            <a:r>
              <a:rPr lang="en-US" sz="12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60" name="Rechteck 59"/>
          <p:cNvSpPr/>
          <p:nvPr/>
        </p:nvSpPr>
        <p:spPr bwMode="auto">
          <a:xfrm>
            <a:off x="6696236" y="2291562"/>
            <a:ext cx="1620000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Protect your </a:t>
            </a:r>
            <a:r>
              <a:rPr lang="en-US" sz="1200" b="1" dirty="0">
                <a:solidFill>
                  <a:schemeClr val="accent2"/>
                </a:solidFill>
              </a:rPr>
              <a:t>club brand identity</a:t>
            </a:r>
            <a:r>
              <a:rPr lang="en-US" sz="1200" b="1" dirty="0">
                <a:solidFill>
                  <a:schemeClr val="bg1"/>
                </a:solidFill>
              </a:rPr>
              <a:t>!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1708772" y="1635647"/>
            <a:ext cx="5832734" cy="1491862"/>
            <a:chOff x="1143814" y="1379262"/>
            <a:chExt cx="5832734" cy="1238970"/>
          </a:xfrm>
        </p:grpSpPr>
        <p:cxnSp>
          <p:nvCxnSpPr>
            <p:cNvPr id="67" name="Gerader Verbinder 66"/>
            <p:cNvCxnSpPr/>
            <p:nvPr/>
          </p:nvCxnSpPr>
          <p:spPr>
            <a:xfrm flipV="1">
              <a:off x="1143814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/>
            <p:cNvCxnSpPr/>
            <p:nvPr/>
          </p:nvCxnSpPr>
          <p:spPr>
            <a:xfrm flipV="1">
              <a:off x="3105122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/>
            <p:cNvCxnSpPr/>
            <p:nvPr/>
          </p:nvCxnSpPr>
          <p:spPr>
            <a:xfrm flipV="1">
              <a:off x="5015154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/>
            <p:cNvCxnSpPr/>
            <p:nvPr/>
          </p:nvCxnSpPr>
          <p:spPr>
            <a:xfrm flipV="1">
              <a:off x="6942278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66">
              <a:extLst>
                <a:ext uri="{FF2B5EF4-FFF2-40B4-BE49-F238E27FC236}">
                  <a16:creationId xmlns:a16="http://schemas.microsoft.com/office/drawing/2014/main" id="{1AFA2EA0-2D7D-010D-7CB9-E0E98F8F0C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8730" y="1379262"/>
              <a:ext cx="1368152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73">
              <a:extLst>
                <a:ext uri="{FF2B5EF4-FFF2-40B4-BE49-F238E27FC236}">
                  <a16:creationId xmlns:a16="http://schemas.microsoft.com/office/drawing/2014/main" id="{411DF21B-9850-1C40-D45C-FEC9467A71DE}"/>
                </a:ext>
              </a:extLst>
            </p:cNvPr>
            <p:cNvCxnSpPr/>
            <p:nvPr/>
          </p:nvCxnSpPr>
          <p:spPr>
            <a:xfrm flipV="1">
              <a:off x="3105122" y="1379262"/>
              <a:ext cx="0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73">
              <a:extLst>
                <a:ext uri="{FF2B5EF4-FFF2-40B4-BE49-F238E27FC236}">
                  <a16:creationId xmlns:a16="http://schemas.microsoft.com/office/drawing/2014/main" id="{1B21187E-63D8-E27C-FDB1-0EB5D19E0D4C}"/>
                </a:ext>
              </a:extLst>
            </p:cNvPr>
            <p:cNvCxnSpPr/>
            <p:nvPr/>
          </p:nvCxnSpPr>
          <p:spPr>
            <a:xfrm flipV="1">
              <a:off x="5015154" y="1379262"/>
              <a:ext cx="0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66">
              <a:extLst>
                <a:ext uri="{FF2B5EF4-FFF2-40B4-BE49-F238E27FC236}">
                  <a16:creationId xmlns:a16="http://schemas.microsoft.com/office/drawing/2014/main" id="{685A23FA-D2FE-78A0-0AF1-F0773A5CEDC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608396" y="1379262"/>
              <a:ext cx="1368152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4" name="Grafik 8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5250" y="3210114"/>
            <a:ext cx="1213146" cy="1235204"/>
          </a:xfrm>
          <a:prstGeom prst="rect">
            <a:avLst/>
          </a:prstGeom>
        </p:spPr>
      </p:pic>
      <p:pic>
        <p:nvPicPr>
          <p:cNvPr id="85" name="Grafik 8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3462" y="3210114"/>
            <a:ext cx="1213146" cy="1235204"/>
          </a:xfrm>
          <a:prstGeom prst="rect">
            <a:avLst/>
          </a:prstGeom>
        </p:spPr>
      </p:pic>
      <p:pic>
        <p:nvPicPr>
          <p:cNvPr id="86" name="Grafik 8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1210" y="3210114"/>
            <a:ext cx="1213146" cy="1235204"/>
          </a:xfrm>
          <a:prstGeom prst="rect">
            <a:avLst/>
          </a:prstGeom>
        </p:spPr>
      </p:pic>
      <p:pic>
        <p:nvPicPr>
          <p:cNvPr id="87" name="Grafik 8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9788" y="3210114"/>
            <a:ext cx="1213146" cy="12352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4D3FD4-A86B-5509-1EAE-234BEFAB66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252" y="3409501"/>
            <a:ext cx="839566" cy="8395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A5B5B5-0BC1-41FF-9425-CBEE8A2055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993" y="3362916"/>
            <a:ext cx="839566" cy="8395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4D178A6-9370-806C-CB0E-21BFD05E497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453" y="3425779"/>
            <a:ext cx="839566" cy="8395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A17DCEF-3D6E-0ED2-898E-EF175FF704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824" y="3479166"/>
            <a:ext cx="685896" cy="685896"/>
          </a:xfrm>
          <a:prstGeom prst="rect">
            <a:avLst/>
          </a:prstGeom>
        </p:spPr>
      </p:pic>
      <p:sp>
        <p:nvSpPr>
          <p:cNvPr id="147" name="Freihandform 146"/>
          <p:cNvSpPr/>
          <p:nvPr/>
        </p:nvSpPr>
        <p:spPr bwMode="auto">
          <a:xfrm>
            <a:off x="-12868" y="3567831"/>
            <a:ext cx="9156867" cy="2476238"/>
          </a:xfrm>
          <a:custGeom>
            <a:avLst/>
            <a:gdLst>
              <a:gd name="connsiteX0" fmla="*/ 7014633 w 9156867"/>
              <a:gd name="connsiteY0" fmla="*/ 1626424 h 2476238"/>
              <a:gd name="connsiteX1" fmla="*/ 6942634 w 9156867"/>
              <a:gd name="connsiteY1" fmla="*/ 1698423 h 2476238"/>
              <a:gd name="connsiteX2" fmla="*/ 6942634 w 9156867"/>
              <a:gd name="connsiteY2" fmla="*/ 1806453 h 2476238"/>
              <a:gd name="connsiteX3" fmla="*/ 7014633 w 9156867"/>
              <a:gd name="connsiteY3" fmla="*/ 1878452 h 2476238"/>
              <a:gd name="connsiteX4" fmla="*/ 8337294 w 9156867"/>
              <a:gd name="connsiteY4" fmla="*/ 1878452 h 2476238"/>
              <a:gd name="connsiteX5" fmla="*/ 8409293 w 9156867"/>
              <a:gd name="connsiteY5" fmla="*/ 1806453 h 2476238"/>
              <a:gd name="connsiteX6" fmla="*/ 8409293 w 9156867"/>
              <a:gd name="connsiteY6" fmla="*/ 1698423 h 2476238"/>
              <a:gd name="connsiteX7" fmla="*/ 8337294 w 9156867"/>
              <a:gd name="connsiteY7" fmla="*/ 1626424 h 2476238"/>
              <a:gd name="connsiteX8" fmla="*/ 5461667 w 9156867"/>
              <a:gd name="connsiteY8" fmla="*/ 1626424 h 2476238"/>
              <a:gd name="connsiteX9" fmla="*/ 5389668 w 9156867"/>
              <a:gd name="connsiteY9" fmla="*/ 1698423 h 2476238"/>
              <a:gd name="connsiteX10" fmla="*/ 5389668 w 9156867"/>
              <a:gd name="connsiteY10" fmla="*/ 1806453 h 2476238"/>
              <a:gd name="connsiteX11" fmla="*/ 5461667 w 9156867"/>
              <a:gd name="connsiteY11" fmla="*/ 1878452 h 2476238"/>
              <a:gd name="connsiteX12" fmla="*/ 6784328 w 9156867"/>
              <a:gd name="connsiteY12" fmla="*/ 1878452 h 2476238"/>
              <a:gd name="connsiteX13" fmla="*/ 6856327 w 9156867"/>
              <a:gd name="connsiteY13" fmla="*/ 1806453 h 2476238"/>
              <a:gd name="connsiteX14" fmla="*/ 6856327 w 9156867"/>
              <a:gd name="connsiteY14" fmla="*/ 1698423 h 2476238"/>
              <a:gd name="connsiteX15" fmla="*/ 6784328 w 9156867"/>
              <a:gd name="connsiteY15" fmla="*/ 1626424 h 2476238"/>
              <a:gd name="connsiteX16" fmla="*/ 3908701 w 9156867"/>
              <a:gd name="connsiteY16" fmla="*/ 1626424 h 2476238"/>
              <a:gd name="connsiteX17" fmla="*/ 3836702 w 9156867"/>
              <a:gd name="connsiteY17" fmla="*/ 1698423 h 2476238"/>
              <a:gd name="connsiteX18" fmla="*/ 3836702 w 9156867"/>
              <a:gd name="connsiteY18" fmla="*/ 1806453 h 2476238"/>
              <a:gd name="connsiteX19" fmla="*/ 3908701 w 9156867"/>
              <a:gd name="connsiteY19" fmla="*/ 1878452 h 2476238"/>
              <a:gd name="connsiteX20" fmla="*/ 5231362 w 9156867"/>
              <a:gd name="connsiteY20" fmla="*/ 1878452 h 2476238"/>
              <a:gd name="connsiteX21" fmla="*/ 5303361 w 9156867"/>
              <a:gd name="connsiteY21" fmla="*/ 1806453 h 2476238"/>
              <a:gd name="connsiteX22" fmla="*/ 5303361 w 9156867"/>
              <a:gd name="connsiteY22" fmla="*/ 1698423 h 2476238"/>
              <a:gd name="connsiteX23" fmla="*/ 5231362 w 9156867"/>
              <a:gd name="connsiteY23" fmla="*/ 1626424 h 2476238"/>
              <a:gd name="connsiteX24" fmla="*/ 2355735 w 9156867"/>
              <a:gd name="connsiteY24" fmla="*/ 1626424 h 2476238"/>
              <a:gd name="connsiteX25" fmla="*/ 2283736 w 9156867"/>
              <a:gd name="connsiteY25" fmla="*/ 1698423 h 2476238"/>
              <a:gd name="connsiteX26" fmla="*/ 2283736 w 9156867"/>
              <a:gd name="connsiteY26" fmla="*/ 1806453 h 2476238"/>
              <a:gd name="connsiteX27" fmla="*/ 2355735 w 9156867"/>
              <a:gd name="connsiteY27" fmla="*/ 1878452 h 2476238"/>
              <a:gd name="connsiteX28" fmla="*/ 3678396 w 9156867"/>
              <a:gd name="connsiteY28" fmla="*/ 1878452 h 2476238"/>
              <a:gd name="connsiteX29" fmla="*/ 3750395 w 9156867"/>
              <a:gd name="connsiteY29" fmla="*/ 1806453 h 2476238"/>
              <a:gd name="connsiteX30" fmla="*/ 3750395 w 9156867"/>
              <a:gd name="connsiteY30" fmla="*/ 1698423 h 2476238"/>
              <a:gd name="connsiteX31" fmla="*/ 3678396 w 9156867"/>
              <a:gd name="connsiteY31" fmla="*/ 1626424 h 2476238"/>
              <a:gd name="connsiteX32" fmla="*/ 802769 w 9156867"/>
              <a:gd name="connsiteY32" fmla="*/ 1626424 h 2476238"/>
              <a:gd name="connsiteX33" fmla="*/ 730771 w 9156867"/>
              <a:gd name="connsiteY33" fmla="*/ 1698423 h 2476238"/>
              <a:gd name="connsiteX34" fmla="*/ 730771 w 9156867"/>
              <a:gd name="connsiteY34" fmla="*/ 1806453 h 2476238"/>
              <a:gd name="connsiteX35" fmla="*/ 802769 w 9156867"/>
              <a:gd name="connsiteY35" fmla="*/ 1878452 h 2476238"/>
              <a:gd name="connsiteX36" fmla="*/ 2125430 w 9156867"/>
              <a:gd name="connsiteY36" fmla="*/ 1878452 h 2476238"/>
              <a:gd name="connsiteX37" fmla="*/ 2197429 w 9156867"/>
              <a:gd name="connsiteY37" fmla="*/ 1806453 h 2476238"/>
              <a:gd name="connsiteX38" fmla="*/ 2197429 w 9156867"/>
              <a:gd name="connsiteY38" fmla="*/ 1698423 h 2476238"/>
              <a:gd name="connsiteX39" fmla="*/ 2125430 w 9156867"/>
              <a:gd name="connsiteY39" fmla="*/ 1626424 h 2476238"/>
              <a:gd name="connsiteX40" fmla="*/ 882539 w 9156867"/>
              <a:gd name="connsiteY40" fmla="*/ 0 h 2476238"/>
              <a:gd name="connsiteX41" fmla="*/ 947162 w 9156867"/>
              <a:gd name="connsiteY41" fmla="*/ 0 h 2476238"/>
              <a:gd name="connsiteX42" fmla="*/ 949342 w 9156867"/>
              <a:gd name="connsiteY42" fmla="*/ 330 h 2476238"/>
              <a:gd name="connsiteX43" fmla="*/ 1001651 w 9156867"/>
              <a:gd name="connsiteY43" fmla="*/ 47757 h 2476238"/>
              <a:gd name="connsiteX44" fmla="*/ 1002925 w 9156867"/>
              <a:gd name="connsiteY44" fmla="*/ 54065 h 2476238"/>
              <a:gd name="connsiteX45" fmla="*/ 1007816 w 9156867"/>
              <a:gd name="connsiteY45" fmla="*/ 61320 h 2476238"/>
              <a:gd name="connsiteX46" fmla="*/ 1016358 w 9156867"/>
              <a:gd name="connsiteY46" fmla="*/ 103631 h 2476238"/>
              <a:gd name="connsiteX47" fmla="*/ 1009999 w 9156867"/>
              <a:gd name="connsiteY47" fmla="*/ 135127 h 2476238"/>
              <a:gd name="connsiteX48" fmla="*/ 1010800 w 9156867"/>
              <a:gd name="connsiteY48" fmla="*/ 136549 h 2476238"/>
              <a:gd name="connsiteX49" fmla="*/ 994833 w 9156867"/>
              <a:gd name="connsiteY49" fmla="*/ 242161 h 2476238"/>
              <a:gd name="connsiteX50" fmla="*/ 1717964 w 9156867"/>
              <a:gd name="connsiteY50" fmla="*/ 965292 h 2476238"/>
              <a:gd name="connsiteX51" fmla="*/ 2441095 w 9156867"/>
              <a:gd name="connsiteY51" fmla="*/ 242161 h 2476238"/>
              <a:gd name="connsiteX52" fmla="*/ 2427548 w 9156867"/>
              <a:gd name="connsiteY52" fmla="*/ 152553 h 2476238"/>
              <a:gd name="connsiteX53" fmla="*/ 2423092 w 9156867"/>
              <a:gd name="connsiteY53" fmla="*/ 145943 h 2476238"/>
              <a:gd name="connsiteX54" fmla="*/ 2414549 w 9156867"/>
              <a:gd name="connsiteY54" fmla="*/ 103631 h 2476238"/>
              <a:gd name="connsiteX55" fmla="*/ 2446388 w 9156867"/>
              <a:gd name="connsiteY55" fmla="*/ 26767 h 2476238"/>
              <a:gd name="connsiteX56" fmla="*/ 2449980 w 9156867"/>
              <a:gd name="connsiteY56" fmla="*/ 24346 h 2476238"/>
              <a:gd name="connsiteX57" fmla="*/ 2452160 w 9156867"/>
              <a:gd name="connsiteY57" fmla="*/ 21112 h 2476238"/>
              <a:gd name="connsiteX58" fmla="*/ 2478804 w 9156867"/>
              <a:gd name="connsiteY58" fmla="*/ 3148 h 2476238"/>
              <a:gd name="connsiteX59" fmla="*/ 2494397 w 9156867"/>
              <a:gd name="connsiteY59" fmla="*/ 0 h 2476238"/>
              <a:gd name="connsiteX60" fmla="*/ 2548369 w 9156867"/>
              <a:gd name="connsiteY60" fmla="*/ 0 h 2476238"/>
              <a:gd name="connsiteX61" fmla="*/ 2550588 w 9156867"/>
              <a:gd name="connsiteY61" fmla="*/ 448 h 2476238"/>
              <a:gd name="connsiteX62" fmla="*/ 2807663 w 9156867"/>
              <a:gd name="connsiteY62" fmla="*/ 448 h 2476238"/>
              <a:gd name="connsiteX63" fmla="*/ 2809882 w 9156867"/>
              <a:gd name="connsiteY63" fmla="*/ 0 h 2476238"/>
              <a:gd name="connsiteX64" fmla="*/ 2875841 w 9156867"/>
              <a:gd name="connsiteY64" fmla="*/ 0 h 2476238"/>
              <a:gd name="connsiteX65" fmla="*/ 2878021 w 9156867"/>
              <a:gd name="connsiteY65" fmla="*/ 330 h 2476238"/>
              <a:gd name="connsiteX66" fmla="*/ 2930330 w 9156867"/>
              <a:gd name="connsiteY66" fmla="*/ 47757 h 2476238"/>
              <a:gd name="connsiteX67" fmla="*/ 2932175 w 9156867"/>
              <a:gd name="connsiteY67" fmla="*/ 56894 h 2476238"/>
              <a:gd name="connsiteX68" fmla="*/ 2935159 w 9156867"/>
              <a:gd name="connsiteY68" fmla="*/ 61320 h 2476238"/>
              <a:gd name="connsiteX69" fmla="*/ 2943701 w 9156867"/>
              <a:gd name="connsiteY69" fmla="*/ 103631 h 2476238"/>
              <a:gd name="connsiteX70" fmla="*/ 2935159 w 9156867"/>
              <a:gd name="connsiteY70" fmla="*/ 145943 h 2476238"/>
              <a:gd name="connsiteX71" fmla="*/ 2931925 w 9156867"/>
              <a:gd name="connsiteY71" fmla="*/ 150739 h 2476238"/>
              <a:gd name="connsiteX72" fmla="*/ 2918103 w 9156867"/>
              <a:gd name="connsiteY72" fmla="*/ 242161 h 2476238"/>
              <a:gd name="connsiteX73" fmla="*/ 3641234 w 9156867"/>
              <a:gd name="connsiteY73" fmla="*/ 965292 h 2476238"/>
              <a:gd name="connsiteX74" fmla="*/ 4364365 w 9156867"/>
              <a:gd name="connsiteY74" fmla="*/ 242161 h 2476238"/>
              <a:gd name="connsiteX75" fmla="*/ 4350970 w 9156867"/>
              <a:gd name="connsiteY75" fmla="*/ 153560 h 2476238"/>
              <a:gd name="connsiteX76" fmla="*/ 4345834 w 9156867"/>
              <a:gd name="connsiteY76" fmla="*/ 145943 h 2476238"/>
              <a:gd name="connsiteX77" fmla="*/ 4337292 w 9156867"/>
              <a:gd name="connsiteY77" fmla="*/ 103631 h 2476238"/>
              <a:gd name="connsiteX78" fmla="*/ 4369130 w 9156867"/>
              <a:gd name="connsiteY78" fmla="*/ 26767 h 2476238"/>
              <a:gd name="connsiteX79" fmla="*/ 4371657 w 9156867"/>
              <a:gd name="connsiteY79" fmla="*/ 25064 h 2476238"/>
              <a:gd name="connsiteX80" fmla="*/ 4374321 w 9156867"/>
              <a:gd name="connsiteY80" fmla="*/ 21112 h 2476238"/>
              <a:gd name="connsiteX81" fmla="*/ 4400966 w 9156867"/>
              <a:gd name="connsiteY81" fmla="*/ 3148 h 2476238"/>
              <a:gd name="connsiteX82" fmla="*/ 4416559 w 9156867"/>
              <a:gd name="connsiteY82" fmla="*/ 0 h 2476238"/>
              <a:gd name="connsiteX83" fmla="*/ 4471111 w 9156867"/>
              <a:gd name="connsiteY83" fmla="*/ 0 h 2476238"/>
              <a:gd name="connsiteX84" fmla="*/ 4473330 w 9156867"/>
              <a:gd name="connsiteY84" fmla="*/ 448 h 2476238"/>
              <a:gd name="connsiteX85" fmla="*/ 4722431 w 9156867"/>
              <a:gd name="connsiteY85" fmla="*/ 448 h 2476238"/>
              <a:gd name="connsiteX86" fmla="*/ 4724650 w 9156867"/>
              <a:gd name="connsiteY86" fmla="*/ 0 h 2476238"/>
              <a:gd name="connsiteX87" fmla="*/ 4792290 w 9156867"/>
              <a:gd name="connsiteY87" fmla="*/ 0 h 2476238"/>
              <a:gd name="connsiteX88" fmla="*/ 4807884 w 9156867"/>
              <a:gd name="connsiteY88" fmla="*/ 3148 h 2476238"/>
              <a:gd name="connsiteX89" fmla="*/ 4859079 w 9156867"/>
              <a:gd name="connsiteY89" fmla="*/ 80384 h 2476238"/>
              <a:gd name="connsiteX90" fmla="*/ 4856428 w 9156867"/>
              <a:gd name="connsiteY90" fmla="*/ 93519 h 2476238"/>
              <a:gd name="connsiteX91" fmla="*/ 4858469 w 9156867"/>
              <a:gd name="connsiteY91" fmla="*/ 103631 h 2476238"/>
              <a:gd name="connsiteX92" fmla="*/ 4853922 w 9156867"/>
              <a:gd name="connsiteY92" fmla="*/ 126153 h 2476238"/>
              <a:gd name="connsiteX93" fmla="*/ 4857856 w 9156867"/>
              <a:gd name="connsiteY93" fmla="*/ 133141 h 2476238"/>
              <a:gd name="connsiteX94" fmla="*/ 4841373 w 9156867"/>
              <a:gd name="connsiteY94" fmla="*/ 242161 h 2476238"/>
              <a:gd name="connsiteX95" fmla="*/ 5564504 w 9156867"/>
              <a:gd name="connsiteY95" fmla="*/ 965292 h 2476238"/>
              <a:gd name="connsiteX96" fmla="*/ 6287635 w 9156867"/>
              <a:gd name="connsiteY96" fmla="*/ 242161 h 2476238"/>
              <a:gd name="connsiteX97" fmla="*/ 6270855 w 9156867"/>
              <a:gd name="connsiteY97" fmla="*/ 131166 h 2476238"/>
              <a:gd name="connsiteX98" fmla="*/ 6272653 w 9156867"/>
              <a:gd name="connsiteY98" fmla="*/ 127973 h 2476238"/>
              <a:gd name="connsiteX99" fmla="*/ 6267738 w 9156867"/>
              <a:gd name="connsiteY99" fmla="*/ 103631 h 2476238"/>
              <a:gd name="connsiteX100" fmla="*/ 6276281 w 9156867"/>
              <a:gd name="connsiteY100" fmla="*/ 61320 h 2476238"/>
              <a:gd name="connsiteX101" fmla="*/ 6281023 w 9156867"/>
              <a:gd name="connsiteY101" fmla="*/ 54285 h 2476238"/>
              <a:gd name="connsiteX102" fmla="*/ 6282342 w 9156867"/>
              <a:gd name="connsiteY102" fmla="*/ 47757 h 2476238"/>
              <a:gd name="connsiteX103" fmla="*/ 6334651 w 9156867"/>
              <a:gd name="connsiteY103" fmla="*/ 330 h 2476238"/>
              <a:gd name="connsiteX104" fmla="*/ 6336831 w 9156867"/>
              <a:gd name="connsiteY104" fmla="*/ 0 h 2476238"/>
              <a:gd name="connsiteX105" fmla="*/ 6401558 w 9156867"/>
              <a:gd name="connsiteY105" fmla="*/ 0 h 2476238"/>
              <a:gd name="connsiteX106" fmla="*/ 6403777 w 9156867"/>
              <a:gd name="connsiteY106" fmla="*/ 448 h 2476238"/>
              <a:gd name="connsiteX107" fmla="*/ 6652877 w 9156867"/>
              <a:gd name="connsiteY107" fmla="*/ 448 h 2476238"/>
              <a:gd name="connsiteX108" fmla="*/ 6655096 w 9156867"/>
              <a:gd name="connsiteY108" fmla="*/ 0 h 2476238"/>
              <a:gd name="connsiteX109" fmla="*/ 6719754 w 9156867"/>
              <a:gd name="connsiteY109" fmla="*/ 0 h 2476238"/>
              <a:gd name="connsiteX110" fmla="*/ 6721934 w 9156867"/>
              <a:gd name="connsiteY110" fmla="*/ 330 h 2476238"/>
              <a:gd name="connsiteX111" fmla="*/ 6774243 w 9156867"/>
              <a:gd name="connsiteY111" fmla="*/ 47757 h 2476238"/>
              <a:gd name="connsiteX112" fmla="*/ 6775532 w 9156867"/>
              <a:gd name="connsiteY112" fmla="*/ 54139 h 2476238"/>
              <a:gd name="connsiteX113" fmla="*/ 6780373 w 9156867"/>
              <a:gd name="connsiteY113" fmla="*/ 61320 h 2476238"/>
              <a:gd name="connsiteX114" fmla="*/ 6788915 w 9156867"/>
              <a:gd name="connsiteY114" fmla="*/ 103631 h 2476238"/>
              <a:gd name="connsiteX115" fmla="*/ 6780373 w 9156867"/>
              <a:gd name="connsiteY115" fmla="*/ 145943 h 2476238"/>
              <a:gd name="connsiteX116" fmla="*/ 6778849 w 9156867"/>
              <a:gd name="connsiteY116" fmla="*/ 148203 h 2476238"/>
              <a:gd name="connsiteX117" fmla="*/ 6764643 w 9156867"/>
              <a:gd name="connsiteY117" fmla="*/ 242161 h 2476238"/>
              <a:gd name="connsiteX118" fmla="*/ 7487774 w 9156867"/>
              <a:gd name="connsiteY118" fmla="*/ 965292 h 2476238"/>
              <a:gd name="connsiteX119" fmla="*/ 8210905 w 9156867"/>
              <a:gd name="connsiteY119" fmla="*/ 242161 h 2476238"/>
              <a:gd name="connsiteX120" fmla="*/ 8194867 w 9156867"/>
              <a:gd name="connsiteY120" fmla="*/ 136078 h 2476238"/>
              <a:gd name="connsiteX121" fmla="*/ 8198190 w 9156867"/>
              <a:gd name="connsiteY121" fmla="*/ 130176 h 2476238"/>
              <a:gd name="connsiteX122" fmla="*/ 8192831 w 9156867"/>
              <a:gd name="connsiteY122" fmla="*/ 103631 h 2476238"/>
              <a:gd name="connsiteX123" fmla="*/ 8196130 w 9156867"/>
              <a:gd name="connsiteY123" fmla="*/ 87290 h 2476238"/>
              <a:gd name="connsiteX124" fmla="*/ 8194736 w 9156867"/>
              <a:gd name="connsiteY124" fmla="*/ 80384 h 2476238"/>
              <a:gd name="connsiteX125" fmla="*/ 8245932 w 9156867"/>
              <a:gd name="connsiteY125" fmla="*/ 3148 h 2476238"/>
              <a:gd name="connsiteX126" fmla="*/ 8261525 w 9156867"/>
              <a:gd name="connsiteY126" fmla="*/ 0 h 2476238"/>
              <a:gd name="connsiteX127" fmla="*/ 8326651 w 9156867"/>
              <a:gd name="connsiteY127" fmla="*/ 0 h 2476238"/>
              <a:gd name="connsiteX128" fmla="*/ 8328870 w 9156867"/>
              <a:gd name="connsiteY128" fmla="*/ 448 h 2476238"/>
              <a:gd name="connsiteX129" fmla="*/ 9156867 w 9156867"/>
              <a:gd name="connsiteY129" fmla="*/ 448 h 2476238"/>
              <a:gd name="connsiteX130" fmla="*/ 9156867 w 9156867"/>
              <a:gd name="connsiteY130" fmla="*/ 2476238 h 2476238"/>
              <a:gd name="connsiteX131" fmla="*/ 0 w 9156867"/>
              <a:gd name="connsiteY131" fmla="*/ 2476238 h 2476238"/>
              <a:gd name="connsiteX132" fmla="*/ 0 w 9156867"/>
              <a:gd name="connsiteY132" fmla="*/ 448 h 2476238"/>
              <a:gd name="connsiteX133" fmla="*/ 880320 w 9156867"/>
              <a:gd name="connsiteY133" fmla="*/ 448 h 2476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9156867" h="2476238">
                <a:moveTo>
                  <a:pt x="7014633" y="1626424"/>
                </a:moveTo>
                <a:cubicBezTo>
                  <a:pt x="6974869" y="1626424"/>
                  <a:pt x="6942634" y="1658659"/>
                  <a:pt x="6942634" y="1698423"/>
                </a:cubicBezTo>
                <a:lnTo>
                  <a:pt x="6942634" y="1806453"/>
                </a:lnTo>
                <a:cubicBezTo>
                  <a:pt x="6942634" y="1846217"/>
                  <a:pt x="6974869" y="1878452"/>
                  <a:pt x="7014633" y="1878452"/>
                </a:cubicBezTo>
                <a:lnTo>
                  <a:pt x="8337294" y="1878452"/>
                </a:lnTo>
                <a:cubicBezTo>
                  <a:pt x="8377058" y="1878452"/>
                  <a:pt x="8409293" y="1846217"/>
                  <a:pt x="8409293" y="1806453"/>
                </a:cubicBezTo>
                <a:lnTo>
                  <a:pt x="8409293" y="1698423"/>
                </a:lnTo>
                <a:cubicBezTo>
                  <a:pt x="8409293" y="1658659"/>
                  <a:pt x="8377058" y="1626424"/>
                  <a:pt x="8337294" y="1626424"/>
                </a:cubicBezTo>
                <a:close/>
                <a:moveTo>
                  <a:pt x="5461667" y="1626424"/>
                </a:moveTo>
                <a:cubicBezTo>
                  <a:pt x="5421903" y="1626424"/>
                  <a:pt x="5389668" y="1658659"/>
                  <a:pt x="5389668" y="1698423"/>
                </a:cubicBezTo>
                <a:lnTo>
                  <a:pt x="5389668" y="1806453"/>
                </a:lnTo>
                <a:cubicBezTo>
                  <a:pt x="5389668" y="1846217"/>
                  <a:pt x="5421903" y="1878452"/>
                  <a:pt x="5461667" y="1878452"/>
                </a:cubicBezTo>
                <a:lnTo>
                  <a:pt x="6784328" y="1878452"/>
                </a:lnTo>
                <a:cubicBezTo>
                  <a:pt x="6824092" y="1878452"/>
                  <a:pt x="6856327" y="1846217"/>
                  <a:pt x="6856327" y="1806453"/>
                </a:cubicBezTo>
                <a:lnTo>
                  <a:pt x="6856327" y="1698423"/>
                </a:lnTo>
                <a:cubicBezTo>
                  <a:pt x="6856327" y="1658659"/>
                  <a:pt x="6824092" y="1626424"/>
                  <a:pt x="6784328" y="1626424"/>
                </a:cubicBezTo>
                <a:close/>
                <a:moveTo>
                  <a:pt x="3908701" y="1626424"/>
                </a:moveTo>
                <a:cubicBezTo>
                  <a:pt x="3868937" y="1626424"/>
                  <a:pt x="3836702" y="1658659"/>
                  <a:pt x="3836702" y="1698423"/>
                </a:cubicBezTo>
                <a:lnTo>
                  <a:pt x="3836702" y="1806453"/>
                </a:lnTo>
                <a:cubicBezTo>
                  <a:pt x="3836702" y="1846217"/>
                  <a:pt x="3868937" y="1878452"/>
                  <a:pt x="3908701" y="1878452"/>
                </a:cubicBezTo>
                <a:lnTo>
                  <a:pt x="5231362" y="1878452"/>
                </a:lnTo>
                <a:cubicBezTo>
                  <a:pt x="5271126" y="1878452"/>
                  <a:pt x="5303361" y="1846217"/>
                  <a:pt x="5303361" y="1806453"/>
                </a:cubicBezTo>
                <a:lnTo>
                  <a:pt x="5303361" y="1698423"/>
                </a:lnTo>
                <a:cubicBezTo>
                  <a:pt x="5303361" y="1658659"/>
                  <a:pt x="5271126" y="1626424"/>
                  <a:pt x="5231362" y="1626424"/>
                </a:cubicBezTo>
                <a:close/>
                <a:moveTo>
                  <a:pt x="2355735" y="1626424"/>
                </a:moveTo>
                <a:cubicBezTo>
                  <a:pt x="2315972" y="1626424"/>
                  <a:pt x="2283736" y="1658659"/>
                  <a:pt x="2283736" y="1698423"/>
                </a:cubicBezTo>
                <a:lnTo>
                  <a:pt x="2283736" y="1806453"/>
                </a:lnTo>
                <a:cubicBezTo>
                  <a:pt x="2283736" y="1846217"/>
                  <a:pt x="2315972" y="1878452"/>
                  <a:pt x="2355735" y="1878452"/>
                </a:cubicBezTo>
                <a:lnTo>
                  <a:pt x="3678396" y="1878452"/>
                </a:lnTo>
                <a:cubicBezTo>
                  <a:pt x="3718160" y="1878452"/>
                  <a:pt x="3750395" y="1846217"/>
                  <a:pt x="3750395" y="1806453"/>
                </a:cubicBezTo>
                <a:lnTo>
                  <a:pt x="3750395" y="1698423"/>
                </a:lnTo>
                <a:cubicBezTo>
                  <a:pt x="3750395" y="1658659"/>
                  <a:pt x="3718160" y="1626424"/>
                  <a:pt x="3678396" y="1626424"/>
                </a:cubicBezTo>
                <a:close/>
                <a:moveTo>
                  <a:pt x="802769" y="1626424"/>
                </a:moveTo>
                <a:cubicBezTo>
                  <a:pt x="763005" y="1626424"/>
                  <a:pt x="730771" y="1658659"/>
                  <a:pt x="730771" y="1698423"/>
                </a:cubicBezTo>
                <a:lnTo>
                  <a:pt x="730771" y="1806453"/>
                </a:lnTo>
                <a:cubicBezTo>
                  <a:pt x="730771" y="1846217"/>
                  <a:pt x="763005" y="1878452"/>
                  <a:pt x="802769" y="1878452"/>
                </a:cubicBezTo>
                <a:lnTo>
                  <a:pt x="2125430" y="1878452"/>
                </a:lnTo>
                <a:cubicBezTo>
                  <a:pt x="2165194" y="1878452"/>
                  <a:pt x="2197429" y="1846217"/>
                  <a:pt x="2197429" y="1806453"/>
                </a:cubicBezTo>
                <a:lnTo>
                  <a:pt x="2197429" y="1698423"/>
                </a:lnTo>
                <a:cubicBezTo>
                  <a:pt x="2197429" y="1658659"/>
                  <a:pt x="2165194" y="1626424"/>
                  <a:pt x="2125430" y="1626424"/>
                </a:cubicBezTo>
                <a:close/>
                <a:moveTo>
                  <a:pt x="882539" y="0"/>
                </a:moveTo>
                <a:lnTo>
                  <a:pt x="947162" y="0"/>
                </a:lnTo>
                <a:lnTo>
                  <a:pt x="949342" y="330"/>
                </a:lnTo>
                <a:cubicBezTo>
                  <a:pt x="972965" y="7677"/>
                  <a:pt x="992107" y="25193"/>
                  <a:pt x="1001651" y="47757"/>
                </a:cubicBezTo>
                <a:lnTo>
                  <a:pt x="1002925" y="54065"/>
                </a:lnTo>
                <a:lnTo>
                  <a:pt x="1007816" y="61320"/>
                </a:lnTo>
                <a:cubicBezTo>
                  <a:pt x="1013316" y="74325"/>
                  <a:pt x="1016358" y="88623"/>
                  <a:pt x="1016358" y="103631"/>
                </a:cubicBezTo>
                <a:lnTo>
                  <a:pt x="1009999" y="135127"/>
                </a:lnTo>
                <a:lnTo>
                  <a:pt x="1010800" y="136549"/>
                </a:lnTo>
                <a:lnTo>
                  <a:pt x="994833" y="242161"/>
                </a:lnTo>
                <a:cubicBezTo>
                  <a:pt x="994833" y="641535"/>
                  <a:pt x="1318590" y="965292"/>
                  <a:pt x="1717964" y="965292"/>
                </a:cubicBezTo>
                <a:cubicBezTo>
                  <a:pt x="2117338" y="965292"/>
                  <a:pt x="2441095" y="641535"/>
                  <a:pt x="2441095" y="242161"/>
                </a:cubicBezTo>
                <a:lnTo>
                  <a:pt x="2427548" y="152553"/>
                </a:lnTo>
                <a:lnTo>
                  <a:pt x="2423092" y="145943"/>
                </a:lnTo>
                <a:cubicBezTo>
                  <a:pt x="2417591" y="132938"/>
                  <a:pt x="2414549" y="118640"/>
                  <a:pt x="2414549" y="103631"/>
                </a:cubicBezTo>
                <a:cubicBezTo>
                  <a:pt x="2414549" y="73614"/>
                  <a:pt x="2426716" y="46439"/>
                  <a:pt x="2446388" y="26767"/>
                </a:cubicBezTo>
                <a:lnTo>
                  <a:pt x="2449980" y="24346"/>
                </a:lnTo>
                <a:lnTo>
                  <a:pt x="2452160" y="21112"/>
                </a:lnTo>
                <a:cubicBezTo>
                  <a:pt x="2459745" y="13528"/>
                  <a:pt x="2468776" y="7390"/>
                  <a:pt x="2478804" y="3148"/>
                </a:cubicBezTo>
                <a:lnTo>
                  <a:pt x="2494397" y="0"/>
                </a:lnTo>
                <a:lnTo>
                  <a:pt x="2548369" y="0"/>
                </a:lnTo>
                <a:lnTo>
                  <a:pt x="2550588" y="448"/>
                </a:lnTo>
                <a:lnTo>
                  <a:pt x="2807663" y="448"/>
                </a:lnTo>
                <a:lnTo>
                  <a:pt x="2809882" y="0"/>
                </a:lnTo>
                <a:lnTo>
                  <a:pt x="2875841" y="0"/>
                </a:lnTo>
                <a:lnTo>
                  <a:pt x="2878021" y="330"/>
                </a:lnTo>
                <a:cubicBezTo>
                  <a:pt x="2901644" y="7677"/>
                  <a:pt x="2920786" y="25193"/>
                  <a:pt x="2930330" y="47757"/>
                </a:cubicBezTo>
                <a:lnTo>
                  <a:pt x="2932175" y="56894"/>
                </a:lnTo>
                <a:lnTo>
                  <a:pt x="2935159" y="61320"/>
                </a:lnTo>
                <a:cubicBezTo>
                  <a:pt x="2940660" y="74325"/>
                  <a:pt x="2943701" y="88623"/>
                  <a:pt x="2943701" y="103631"/>
                </a:cubicBezTo>
                <a:cubicBezTo>
                  <a:pt x="2943701" y="118640"/>
                  <a:pt x="2940660" y="132938"/>
                  <a:pt x="2935159" y="145943"/>
                </a:cubicBezTo>
                <a:lnTo>
                  <a:pt x="2931925" y="150739"/>
                </a:lnTo>
                <a:lnTo>
                  <a:pt x="2918103" y="242161"/>
                </a:lnTo>
                <a:cubicBezTo>
                  <a:pt x="2918103" y="641535"/>
                  <a:pt x="3241860" y="965292"/>
                  <a:pt x="3641234" y="965292"/>
                </a:cubicBezTo>
                <a:cubicBezTo>
                  <a:pt x="4040608" y="965292"/>
                  <a:pt x="4364365" y="641535"/>
                  <a:pt x="4364365" y="242161"/>
                </a:cubicBezTo>
                <a:lnTo>
                  <a:pt x="4350970" y="153560"/>
                </a:lnTo>
                <a:lnTo>
                  <a:pt x="4345834" y="145943"/>
                </a:lnTo>
                <a:cubicBezTo>
                  <a:pt x="4340334" y="132938"/>
                  <a:pt x="4337292" y="118640"/>
                  <a:pt x="4337292" y="103631"/>
                </a:cubicBezTo>
                <a:cubicBezTo>
                  <a:pt x="4337292" y="73614"/>
                  <a:pt x="4349459" y="46439"/>
                  <a:pt x="4369130" y="26767"/>
                </a:cubicBezTo>
                <a:lnTo>
                  <a:pt x="4371657" y="25064"/>
                </a:lnTo>
                <a:lnTo>
                  <a:pt x="4374321" y="21112"/>
                </a:lnTo>
                <a:cubicBezTo>
                  <a:pt x="4381906" y="13528"/>
                  <a:pt x="4390937" y="7390"/>
                  <a:pt x="4400966" y="3148"/>
                </a:cubicBezTo>
                <a:lnTo>
                  <a:pt x="4416559" y="0"/>
                </a:lnTo>
                <a:lnTo>
                  <a:pt x="4471111" y="0"/>
                </a:lnTo>
                <a:lnTo>
                  <a:pt x="4473330" y="448"/>
                </a:lnTo>
                <a:lnTo>
                  <a:pt x="4722431" y="448"/>
                </a:lnTo>
                <a:lnTo>
                  <a:pt x="4724650" y="0"/>
                </a:lnTo>
                <a:lnTo>
                  <a:pt x="4792290" y="0"/>
                </a:lnTo>
                <a:lnTo>
                  <a:pt x="4807884" y="3148"/>
                </a:lnTo>
                <a:cubicBezTo>
                  <a:pt x="4837969" y="15873"/>
                  <a:pt x="4859079" y="45664"/>
                  <a:pt x="4859079" y="80384"/>
                </a:cubicBezTo>
                <a:lnTo>
                  <a:pt x="4856428" y="93519"/>
                </a:lnTo>
                <a:lnTo>
                  <a:pt x="4858469" y="103631"/>
                </a:lnTo>
                <a:lnTo>
                  <a:pt x="4853922" y="126153"/>
                </a:lnTo>
                <a:lnTo>
                  <a:pt x="4857856" y="133141"/>
                </a:lnTo>
                <a:lnTo>
                  <a:pt x="4841373" y="242161"/>
                </a:lnTo>
                <a:cubicBezTo>
                  <a:pt x="4841373" y="641535"/>
                  <a:pt x="5165130" y="965292"/>
                  <a:pt x="5564504" y="965292"/>
                </a:cubicBezTo>
                <a:cubicBezTo>
                  <a:pt x="5963878" y="965292"/>
                  <a:pt x="6287635" y="641535"/>
                  <a:pt x="6287635" y="242161"/>
                </a:cubicBezTo>
                <a:lnTo>
                  <a:pt x="6270855" y="131166"/>
                </a:lnTo>
                <a:lnTo>
                  <a:pt x="6272653" y="127973"/>
                </a:lnTo>
                <a:lnTo>
                  <a:pt x="6267738" y="103631"/>
                </a:lnTo>
                <a:cubicBezTo>
                  <a:pt x="6267738" y="88623"/>
                  <a:pt x="6270780" y="74325"/>
                  <a:pt x="6276281" y="61320"/>
                </a:cubicBezTo>
                <a:lnTo>
                  <a:pt x="6281023" y="54285"/>
                </a:lnTo>
                <a:lnTo>
                  <a:pt x="6282342" y="47757"/>
                </a:lnTo>
                <a:cubicBezTo>
                  <a:pt x="6291886" y="25193"/>
                  <a:pt x="6311029" y="7677"/>
                  <a:pt x="6334651" y="330"/>
                </a:cubicBezTo>
                <a:lnTo>
                  <a:pt x="6336831" y="0"/>
                </a:lnTo>
                <a:lnTo>
                  <a:pt x="6401558" y="0"/>
                </a:lnTo>
                <a:lnTo>
                  <a:pt x="6403777" y="448"/>
                </a:lnTo>
                <a:lnTo>
                  <a:pt x="6652877" y="448"/>
                </a:lnTo>
                <a:lnTo>
                  <a:pt x="6655096" y="0"/>
                </a:lnTo>
                <a:lnTo>
                  <a:pt x="6719754" y="0"/>
                </a:lnTo>
                <a:lnTo>
                  <a:pt x="6721934" y="330"/>
                </a:lnTo>
                <a:cubicBezTo>
                  <a:pt x="6745557" y="7677"/>
                  <a:pt x="6764700" y="25193"/>
                  <a:pt x="6774243" y="47757"/>
                </a:cubicBezTo>
                <a:lnTo>
                  <a:pt x="6775532" y="54139"/>
                </a:lnTo>
                <a:lnTo>
                  <a:pt x="6780373" y="61320"/>
                </a:lnTo>
                <a:cubicBezTo>
                  <a:pt x="6785873" y="74325"/>
                  <a:pt x="6788915" y="88623"/>
                  <a:pt x="6788915" y="103631"/>
                </a:cubicBezTo>
                <a:cubicBezTo>
                  <a:pt x="6788915" y="118640"/>
                  <a:pt x="6785873" y="132938"/>
                  <a:pt x="6780373" y="145943"/>
                </a:cubicBezTo>
                <a:lnTo>
                  <a:pt x="6778849" y="148203"/>
                </a:lnTo>
                <a:lnTo>
                  <a:pt x="6764643" y="242161"/>
                </a:lnTo>
                <a:cubicBezTo>
                  <a:pt x="6764643" y="641535"/>
                  <a:pt x="7088400" y="965292"/>
                  <a:pt x="7487774" y="965292"/>
                </a:cubicBezTo>
                <a:cubicBezTo>
                  <a:pt x="7887148" y="965292"/>
                  <a:pt x="8210905" y="641535"/>
                  <a:pt x="8210905" y="242161"/>
                </a:cubicBezTo>
                <a:lnTo>
                  <a:pt x="8194867" y="136078"/>
                </a:lnTo>
                <a:lnTo>
                  <a:pt x="8198190" y="130176"/>
                </a:lnTo>
                <a:lnTo>
                  <a:pt x="8192831" y="103631"/>
                </a:lnTo>
                <a:lnTo>
                  <a:pt x="8196130" y="87290"/>
                </a:lnTo>
                <a:lnTo>
                  <a:pt x="8194736" y="80384"/>
                </a:lnTo>
                <a:cubicBezTo>
                  <a:pt x="8194736" y="45664"/>
                  <a:pt x="8215846" y="15873"/>
                  <a:pt x="8245932" y="3148"/>
                </a:cubicBezTo>
                <a:lnTo>
                  <a:pt x="8261525" y="0"/>
                </a:lnTo>
                <a:lnTo>
                  <a:pt x="8326651" y="0"/>
                </a:lnTo>
                <a:lnTo>
                  <a:pt x="8328870" y="448"/>
                </a:lnTo>
                <a:lnTo>
                  <a:pt x="9156867" y="448"/>
                </a:lnTo>
                <a:lnTo>
                  <a:pt x="9156867" y="2476238"/>
                </a:lnTo>
                <a:lnTo>
                  <a:pt x="0" y="2476238"/>
                </a:lnTo>
                <a:lnTo>
                  <a:pt x="0" y="448"/>
                </a:lnTo>
                <a:lnTo>
                  <a:pt x="880320" y="4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>
                <a:solidFill>
                  <a:schemeClr val="tx1"/>
                </a:solidFill>
              </a:rPr>
              <a:pPr/>
              <a:t>11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9" name="Rectangle 8">
            <a:extLst>
              <a:ext uri="{FF2B5EF4-FFF2-40B4-BE49-F238E27FC236}">
                <a16:creationId xmlns:a16="http://schemas.microsoft.com/office/drawing/2014/main" id="{01411855-3B9A-4787-B4E6-DD88B389C814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>
              <a:spcBef>
                <a:spcPts val="100"/>
              </a:spcBef>
              <a:defRPr/>
            </a:pPr>
            <a:r>
              <a:rPr lang="en-US" sz="550" dirty="0">
                <a:cs typeface="Calibri"/>
              </a:rPr>
              <a:t>Copyright © 2023 The Nielsen Company (US), LLC. Confidential and proprietary. Do not distribute.</a:t>
            </a:r>
          </a:p>
        </p:txBody>
      </p:sp>
      <p:sp>
        <p:nvSpPr>
          <p:cNvPr id="101" name="Titel 2"/>
          <p:cNvSpPr>
            <a:spLocks noGrp="1"/>
          </p:cNvSpPr>
          <p:nvPr>
            <p:ph type="title"/>
          </p:nvPr>
        </p:nvSpPr>
        <p:spPr>
          <a:xfrm>
            <a:off x="2404" y="646060"/>
            <a:ext cx="9156866" cy="1054135"/>
          </a:xfrm>
        </p:spPr>
        <p:txBody>
          <a:bodyPr/>
          <a:lstStyle/>
          <a:p>
            <a:pPr algn="ctr">
              <a:lnSpc>
                <a:spcPct val="100000"/>
              </a:lnSpc>
              <a:tabLst>
                <a:tab pos="2960688" algn="l"/>
              </a:tabLst>
            </a:pPr>
            <a:br>
              <a:rPr lang="de-DE" sz="1050" b="0" dirty="0"/>
            </a:br>
            <a:r>
              <a:rPr lang="en-US" sz="2400" dirty="0"/>
              <a:t>Building your </a:t>
            </a:r>
            <a:r>
              <a:rPr lang="en-US" sz="2400" dirty="0">
                <a:solidFill>
                  <a:schemeClr val="accent2"/>
                </a:solidFill>
              </a:rPr>
              <a:t>own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accent2"/>
                </a:solidFill>
              </a:rPr>
              <a:t>club brand </a:t>
            </a:r>
            <a:r>
              <a:rPr lang="en-US" sz="2400" dirty="0"/>
              <a:t>is the foundation for </a:t>
            </a:r>
            <a:br>
              <a:rPr lang="en-US" sz="2400" dirty="0"/>
            </a:br>
            <a:r>
              <a:rPr lang="en-US" sz="2400" dirty="0"/>
              <a:t>long-term </a:t>
            </a:r>
            <a:r>
              <a:rPr lang="en-US" sz="2400" dirty="0">
                <a:solidFill>
                  <a:schemeClr val="accent2"/>
                </a:solidFill>
              </a:rPr>
              <a:t>commercial success</a:t>
            </a:r>
            <a:r>
              <a:rPr lang="en-US" sz="2400" dirty="0"/>
              <a:t>!</a:t>
            </a:r>
            <a:br>
              <a:rPr lang="en-US" sz="2400" dirty="0"/>
            </a:br>
            <a:endParaRPr lang="de-DE" sz="1000" b="0" dirty="0"/>
          </a:p>
        </p:txBody>
      </p:sp>
      <p:pic>
        <p:nvPicPr>
          <p:cNvPr id="93" name="Google Shape;117;p20">
            <a:extLst>
              <a:ext uri="{FF2B5EF4-FFF2-40B4-BE49-F238E27FC236}">
                <a16:creationId xmlns:a16="http://schemas.microsoft.com/office/drawing/2014/main" id="{31DD3062-ED99-4CE3-98EF-A44140B841D5}"/>
              </a:ext>
            </a:extLst>
          </p:cNvPr>
          <p:cNvPicPr preferRelativeResize="0"/>
          <p:nvPr/>
        </p:nvPicPr>
        <p:blipFill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912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4E950B-E6D5-6670-6922-013777DA559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CB0C8C-D79E-F6A9-5691-4EE94D8A0D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639" y="2544444"/>
            <a:ext cx="2459517" cy="184666"/>
          </a:xfrm>
        </p:spPr>
        <p:txBody>
          <a:bodyPr/>
          <a:lstStyle/>
          <a:p>
            <a:r>
              <a:rPr lang="de-DE" sz="1200" b="1" dirty="0"/>
              <a:t>Dr. Felix Boronczy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A779BF-70C4-76FB-D402-DBE5C527D8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874" y="2824570"/>
            <a:ext cx="2463059" cy="900824"/>
          </a:xfrm>
        </p:spPr>
        <p:txBody>
          <a:bodyPr/>
          <a:lstStyle/>
          <a:p>
            <a:pPr>
              <a:lnSpc>
                <a:spcPct val="105000"/>
              </a:lnSpc>
              <a:spcBef>
                <a:spcPts val="400"/>
              </a:spcBef>
            </a:pPr>
            <a:r>
              <a:rPr lang="de-DE" dirty="0"/>
              <a:t>Consultant</a:t>
            </a:r>
            <a:br>
              <a:rPr lang="de-DE" dirty="0"/>
            </a:br>
            <a:r>
              <a:rPr lang="de-DE" dirty="0"/>
              <a:t>Nielsen Sports</a:t>
            </a:r>
          </a:p>
          <a:p>
            <a:pPr>
              <a:lnSpc>
                <a:spcPct val="105000"/>
              </a:lnSpc>
              <a:spcBef>
                <a:spcPts val="400"/>
              </a:spcBef>
            </a:pPr>
            <a:r>
              <a:rPr lang="de-DE" dirty="0"/>
              <a:t>+49 174 1535 138</a:t>
            </a:r>
            <a:br>
              <a:rPr lang="de-DE" dirty="0"/>
            </a:br>
            <a:r>
              <a:rPr lang="de-DE" b="0" dirty="0"/>
              <a:t>felix.boronczyk@nielsen.com</a:t>
            </a:r>
            <a:endParaRPr lang="de-DE" dirty="0"/>
          </a:p>
          <a:p>
            <a:endParaRPr lang="de-DE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0832B49-081C-18F8-4AD4-5025E5062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4" name="Picture Placeholder 13" descr="A person in a suit&#10;&#10;Description automatically generated">
            <a:extLst>
              <a:ext uri="{FF2B5EF4-FFF2-40B4-BE49-F238E27FC236}">
                <a16:creationId xmlns:a16="http://schemas.microsoft.com/office/drawing/2014/main" id="{F3CFA0D4-B4E9-D67B-796A-DB91205B96C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119" t="3833" r="-119" b="17428"/>
          <a:stretch/>
        </p:blipFill>
        <p:spPr>
          <a:xfrm>
            <a:off x="396875" y="1102995"/>
            <a:ext cx="1332865" cy="1331408"/>
          </a:xfrm>
        </p:spPr>
      </p:pic>
    </p:spTree>
    <p:extLst>
      <p:ext uri="{BB962C8B-B14F-4D97-AF65-F5344CB8AC3E}">
        <p14:creationId xmlns:p14="http://schemas.microsoft.com/office/powerpoint/2010/main" val="1052916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8665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>
            <a:extLst>
              <a:ext uri="{FF2B5EF4-FFF2-40B4-BE49-F238E27FC236}">
                <a16:creationId xmlns:a16="http://schemas.microsoft.com/office/drawing/2014/main" id="{4BCADFF7-7786-1D1B-1E4B-7DF7844322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0" r="48194" b="12070"/>
          <a:stretch/>
        </p:blipFill>
        <p:spPr bwMode="auto">
          <a:xfrm>
            <a:off x="3874901" y="0"/>
            <a:ext cx="526909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 90">
            <a:extLst>
              <a:ext uri="{FF2B5EF4-FFF2-40B4-BE49-F238E27FC236}">
                <a16:creationId xmlns:a16="http://schemas.microsoft.com/office/drawing/2014/main" id="{BC1FE494-9DAA-BC57-C79D-641791F4C2A1}"/>
              </a:ext>
            </a:extLst>
          </p:cNvPr>
          <p:cNvSpPr/>
          <p:nvPr/>
        </p:nvSpPr>
        <p:spPr bwMode="auto">
          <a:xfrm>
            <a:off x="3723060" y="0"/>
            <a:ext cx="5420940" cy="5143500"/>
          </a:xfrm>
          <a:prstGeom prst="rect">
            <a:avLst/>
          </a:prstGeom>
          <a:gradFill flip="none" rotWithShape="1">
            <a:gsLst>
              <a:gs pos="23000">
                <a:schemeClr val="tx2"/>
              </a:gs>
              <a:gs pos="100000">
                <a:schemeClr val="tx2">
                  <a:alpha val="58000"/>
                </a:schemeClr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B0BBCE-8889-F1D7-7345-47257568AF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2" name="Rechteck 94">
            <a:extLst>
              <a:ext uri="{FF2B5EF4-FFF2-40B4-BE49-F238E27FC236}">
                <a16:creationId xmlns:a16="http://schemas.microsoft.com/office/drawing/2014/main" id="{530AF11F-4239-AA35-4F0E-2B220314A0DF}"/>
              </a:ext>
            </a:extLst>
          </p:cNvPr>
          <p:cNvSpPr/>
          <p:nvPr/>
        </p:nvSpPr>
        <p:spPr bwMode="auto">
          <a:xfrm>
            <a:off x="686780" y="1818735"/>
            <a:ext cx="3976374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solidFill>
                  <a:srgbClr val="32BBB9"/>
                </a:solidFill>
              </a:rPr>
              <a:t>CLUBS ARE FACING A </a:t>
            </a:r>
            <a:r>
              <a:rPr lang="en-US" sz="2400" b="1" dirty="0">
                <a:solidFill>
                  <a:srgbClr val="88DCDA"/>
                </a:solidFill>
              </a:rPr>
              <a:t>TRADEOFF</a:t>
            </a:r>
            <a:r>
              <a:rPr lang="en-US" sz="2400" b="1" dirty="0">
                <a:solidFill>
                  <a:srgbClr val="32BBB9"/>
                </a:solidFill>
              </a:rPr>
              <a:t> BETWEEN LONG-TERM</a:t>
            </a:r>
            <a:r>
              <a:rPr lang="en-US" sz="2400" b="1" dirty="0">
                <a:solidFill>
                  <a:srgbClr val="88DCDA"/>
                </a:solidFill>
              </a:rPr>
              <a:t> CLUB </a:t>
            </a:r>
            <a:br>
              <a:rPr lang="en-US" sz="2400" b="1" dirty="0">
                <a:solidFill>
                  <a:srgbClr val="88DCDA"/>
                </a:solidFill>
              </a:rPr>
            </a:br>
            <a:r>
              <a:rPr lang="en-US" sz="2400" b="1" dirty="0">
                <a:solidFill>
                  <a:srgbClr val="88DCDA"/>
                </a:solidFill>
              </a:rPr>
              <a:t>BRAND BUILDING</a:t>
            </a:r>
            <a:r>
              <a:rPr lang="en-US" sz="2400" b="1" dirty="0">
                <a:solidFill>
                  <a:srgbClr val="32BBB9"/>
                </a:solidFill>
              </a:rPr>
              <a:t> AND COMMERCIALIZATION FOR </a:t>
            </a:r>
            <a:r>
              <a:rPr lang="en-US" sz="2400" b="1" dirty="0">
                <a:solidFill>
                  <a:srgbClr val="88DCDA"/>
                </a:solidFill>
              </a:rPr>
              <a:t>IMMEDIATE REVENUES</a:t>
            </a:r>
          </a:p>
        </p:txBody>
      </p:sp>
      <p:sp>
        <p:nvSpPr>
          <p:cNvPr id="13" name="Rechteck 100">
            <a:extLst>
              <a:ext uri="{FF2B5EF4-FFF2-40B4-BE49-F238E27FC236}">
                <a16:creationId xmlns:a16="http://schemas.microsoft.com/office/drawing/2014/main" id="{84229184-A557-7BA2-290B-EC510F09B76F}"/>
              </a:ext>
            </a:extLst>
          </p:cNvPr>
          <p:cNvSpPr/>
          <p:nvPr/>
        </p:nvSpPr>
        <p:spPr bwMode="auto">
          <a:xfrm>
            <a:off x="685172" y="1564349"/>
            <a:ext cx="3063877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dirty="0">
                <a:solidFill>
                  <a:srgbClr val="FFFFFF"/>
                </a:solidFill>
              </a:rPr>
              <a:t>A DILEMMA FOR HOCKEY CLUBS</a:t>
            </a:r>
          </a:p>
        </p:txBody>
      </p:sp>
      <p:cxnSp>
        <p:nvCxnSpPr>
          <p:cNvPr id="22" name="Gerader Verbinder 104">
            <a:extLst>
              <a:ext uri="{FF2B5EF4-FFF2-40B4-BE49-F238E27FC236}">
                <a16:creationId xmlns:a16="http://schemas.microsoft.com/office/drawing/2014/main" id="{D515F3B8-529F-CAB6-FA19-89C62ECD3589}"/>
              </a:ext>
            </a:extLst>
          </p:cNvPr>
          <p:cNvCxnSpPr/>
          <p:nvPr/>
        </p:nvCxnSpPr>
        <p:spPr>
          <a:xfrm>
            <a:off x="779413" y="4299942"/>
            <a:ext cx="6384875" cy="0"/>
          </a:xfrm>
          <a:prstGeom prst="line">
            <a:avLst/>
          </a:prstGeom>
          <a:ln w="3175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rrow: Curved Right 33">
            <a:extLst>
              <a:ext uri="{FF2B5EF4-FFF2-40B4-BE49-F238E27FC236}">
                <a16:creationId xmlns:a16="http://schemas.microsoft.com/office/drawing/2014/main" id="{6120A56A-46D8-6548-748F-C746A1DD577C}"/>
              </a:ext>
            </a:extLst>
          </p:cNvPr>
          <p:cNvSpPr/>
          <p:nvPr/>
        </p:nvSpPr>
        <p:spPr bwMode="auto">
          <a:xfrm rot="5400000">
            <a:off x="6348513" y="578594"/>
            <a:ext cx="793495" cy="2368491"/>
          </a:xfrm>
          <a:prstGeom prst="curvedRightArrow">
            <a:avLst>
              <a:gd name="adj1" fmla="val 21320"/>
              <a:gd name="adj2" fmla="val 32351"/>
              <a:gd name="adj3" fmla="val 30385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/>
          </a:p>
        </p:txBody>
      </p:sp>
      <p:sp>
        <p:nvSpPr>
          <p:cNvPr id="35" name="Rechteck 19">
            <a:extLst>
              <a:ext uri="{FF2B5EF4-FFF2-40B4-BE49-F238E27FC236}">
                <a16:creationId xmlns:a16="http://schemas.microsoft.com/office/drawing/2014/main" id="{4198862D-0A44-D6E4-F992-52DEA4717385}"/>
              </a:ext>
            </a:extLst>
          </p:cNvPr>
          <p:cNvSpPr/>
          <p:nvPr/>
        </p:nvSpPr>
        <p:spPr bwMode="auto">
          <a:xfrm>
            <a:off x="3551829" y="1046758"/>
            <a:ext cx="1941776" cy="50032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000" dirty="0">
                <a:solidFill>
                  <a:srgbClr val="FFFFFF"/>
                </a:solidFill>
              </a:rPr>
              <a:t>NEED TO </a:t>
            </a:r>
            <a:r>
              <a:rPr lang="en-US" sz="1000" b="1" dirty="0">
                <a:solidFill>
                  <a:schemeClr val="accent2"/>
                </a:solidFill>
              </a:rPr>
              <a:t>MAXIMIZE REVENUE </a:t>
            </a:r>
            <a:r>
              <a:rPr lang="en-US" sz="1000" dirty="0">
                <a:solidFill>
                  <a:srgbClr val="FFFFFF"/>
                </a:solidFill>
              </a:rPr>
              <a:t>FOR SHORT-TERM SUCCESS AND FINANCIAL VIABILITY</a:t>
            </a:r>
          </a:p>
        </p:txBody>
      </p:sp>
      <p:sp>
        <p:nvSpPr>
          <p:cNvPr id="37" name="Rechteck 21">
            <a:extLst>
              <a:ext uri="{FF2B5EF4-FFF2-40B4-BE49-F238E27FC236}">
                <a16:creationId xmlns:a16="http://schemas.microsoft.com/office/drawing/2014/main" id="{1342B957-D1C1-B8F9-3C83-B86AA4BBB3AB}"/>
              </a:ext>
            </a:extLst>
          </p:cNvPr>
          <p:cNvSpPr/>
          <p:nvPr/>
        </p:nvSpPr>
        <p:spPr bwMode="auto">
          <a:xfrm>
            <a:off x="7929506" y="3344488"/>
            <a:ext cx="1249031" cy="971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SEEK TO EXPLOIT ADDRESSABLE AUDIENCES AND </a:t>
            </a:r>
            <a:r>
              <a:rPr lang="en-US" sz="1000" b="1" dirty="0">
                <a:solidFill>
                  <a:schemeClr val="accent2"/>
                </a:solidFill>
              </a:rPr>
              <a:t>UNIQUE CLUB ATTRIBUTES</a:t>
            </a:r>
          </a:p>
        </p:txBody>
      </p:sp>
      <p:cxnSp>
        <p:nvCxnSpPr>
          <p:cNvPr id="38" name="Gerader Verbinder 22">
            <a:extLst>
              <a:ext uri="{FF2B5EF4-FFF2-40B4-BE49-F238E27FC236}">
                <a16:creationId xmlns:a16="http://schemas.microsoft.com/office/drawing/2014/main" id="{87A4055A-4E46-B95F-9422-2460318FF573}"/>
              </a:ext>
            </a:extLst>
          </p:cNvPr>
          <p:cNvCxnSpPr>
            <a:cxnSpLocks/>
          </p:cNvCxnSpPr>
          <p:nvPr/>
        </p:nvCxnSpPr>
        <p:spPr>
          <a:xfrm>
            <a:off x="5513975" y="1046758"/>
            <a:ext cx="0" cy="1057513"/>
          </a:xfrm>
          <a:prstGeom prst="line">
            <a:avLst/>
          </a:prstGeom>
          <a:ln w="3175">
            <a:solidFill>
              <a:schemeClr val="bg1"/>
            </a:solidFill>
            <a:miter lim="800000"/>
            <a:tailEnd type="oval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27">
            <a:extLst>
              <a:ext uri="{FF2B5EF4-FFF2-40B4-BE49-F238E27FC236}">
                <a16:creationId xmlns:a16="http://schemas.microsoft.com/office/drawing/2014/main" id="{FC11BD60-EE3A-7993-66EC-76428893CD69}"/>
              </a:ext>
            </a:extLst>
          </p:cNvPr>
          <p:cNvCxnSpPr>
            <a:cxnSpLocks/>
          </p:cNvCxnSpPr>
          <p:nvPr/>
        </p:nvCxnSpPr>
        <p:spPr>
          <a:xfrm flipH="1" flipV="1">
            <a:off x="7928771" y="2971836"/>
            <a:ext cx="735" cy="1344130"/>
          </a:xfrm>
          <a:prstGeom prst="line">
            <a:avLst/>
          </a:prstGeom>
          <a:ln w="3175">
            <a:solidFill>
              <a:schemeClr val="bg1"/>
            </a:solidFill>
            <a:miter lim="800000"/>
            <a:tailEnd type="oval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83">
            <a:extLst>
              <a:ext uri="{FF2B5EF4-FFF2-40B4-BE49-F238E27FC236}">
                <a16:creationId xmlns:a16="http://schemas.microsoft.com/office/drawing/2014/main" id="{D65B0FE0-00C0-688A-2A63-15A2A3CC99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879" y="2079735"/>
            <a:ext cx="1213146" cy="123520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1B4E098-E3EC-449C-C4D5-3F1B5F54FF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0392" y="2159587"/>
            <a:ext cx="872935" cy="87293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65A360C-83B5-B1D3-B556-D641ECFFAD3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039" y="2125466"/>
            <a:ext cx="872935" cy="872935"/>
          </a:xfrm>
          <a:prstGeom prst="rect">
            <a:avLst/>
          </a:prstGeom>
        </p:spPr>
      </p:pic>
      <p:sp>
        <p:nvSpPr>
          <p:cNvPr id="44" name="Arrow: Curved Right 43">
            <a:extLst>
              <a:ext uri="{FF2B5EF4-FFF2-40B4-BE49-F238E27FC236}">
                <a16:creationId xmlns:a16="http://schemas.microsoft.com/office/drawing/2014/main" id="{05EF8E73-112E-5DBB-A3A4-7CF5D1ECA713}"/>
              </a:ext>
            </a:extLst>
          </p:cNvPr>
          <p:cNvSpPr/>
          <p:nvPr/>
        </p:nvSpPr>
        <p:spPr bwMode="auto">
          <a:xfrm rot="5400000" flipH="1" flipV="1">
            <a:off x="6339965" y="2295689"/>
            <a:ext cx="793495" cy="2368491"/>
          </a:xfrm>
          <a:prstGeom prst="curvedRightArrow">
            <a:avLst>
              <a:gd name="adj1" fmla="val 21320"/>
              <a:gd name="adj2" fmla="val 32351"/>
              <a:gd name="adj3" fmla="val 30385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7DFFF184-ADEC-20CF-612D-9668237C87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968" y="3627133"/>
            <a:ext cx="497488" cy="497488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4930CB8A-D3AC-38D5-A6D1-ABB03F35BC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725" y="961251"/>
            <a:ext cx="496002" cy="49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94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>
            <a:extLst>
              <a:ext uri="{FF2B5EF4-FFF2-40B4-BE49-F238E27FC236}">
                <a16:creationId xmlns:a16="http://schemas.microsoft.com/office/drawing/2014/main" id="{4BCADFF7-7786-1D1B-1E4B-7DF7844322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0" r="48194" b="12070"/>
          <a:stretch/>
        </p:blipFill>
        <p:spPr bwMode="auto">
          <a:xfrm>
            <a:off x="3874901" y="0"/>
            <a:ext cx="526909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 90">
            <a:extLst>
              <a:ext uri="{FF2B5EF4-FFF2-40B4-BE49-F238E27FC236}">
                <a16:creationId xmlns:a16="http://schemas.microsoft.com/office/drawing/2014/main" id="{8BD65169-5479-A341-7BF5-AD4F8A614543}"/>
              </a:ext>
            </a:extLst>
          </p:cNvPr>
          <p:cNvSpPr/>
          <p:nvPr/>
        </p:nvSpPr>
        <p:spPr bwMode="auto">
          <a:xfrm>
            <a:off x="3723060" y="0"/>
            <a:ext cx="5420940" cy="5143500"/>
          </a:xfrm>
          <a:prstGeom prst="rect">
            <a:avLst/>
          </a:prstGeom>
          <a:gradFill flip="none" rotWithShape="1">
            <a:gsLst>
              <a:gs pos="23000">
                <a:schemeClr val="tx2"/>
              </a:gs>
              <a:gs pos="100000">
                <a:schemeClr val="tx2">
                  <a:alpha val="58000"/>
                </a:schemeClr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DB0BBCE-8889-F1D7-7345-47257568AF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Rechteck 94">
            <a:extLst>
              <a:ext uri="{FF2B5EF4-FFF2-40B4-BE49-F238E27FC236}">
                <a16:creationId xmlns:a16="http://schemas.microsoft.com/office/drawing/2014/main" id="{530AF11F-4239-AA35-4F0E-2B220314A0DF}"/>
              </a:ext>
            </a:extLst>
          </p:cNvPr>
          <p:cNvSpPr/>
          <p:nvPr/>
        </p:nvSpPr>
        <p:spPr bwMode="auto">
          <a:xfrm>
            <a:off x="686780" y="1818735"/>
            <a:ext cx="3062269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solidFill>
                  <a:srgbClr val="32BBB9"/>
                </a:solidFill>
              </a:rPr>
              <a:t>HOW CAN PROFESSIONAL HOCKEY CLUBS SOLVE THIS DILEMMA?</a:t>
            </a:r>
            <a:endParaRPr lang="en-US" sz="2400" b="1" dirty="0">
              <a:solidFill>
                <a:srgbClr val="88DCDA"/>
              </a:solidFill>
            </a:endParaRPr>
          </a:p>
        </p:txBody>
      </p:sp>
      <p:sp>
        <p:nvSpPr>
          <p:cNvPr id="13" name="Rechteck 100">
            <a:extLst>
              <a:ext uri="{FF2B5EF4-FFF2-40B4-BE49-F238E27FC236}">
                <a16:creationId xmlns:a16="http://schemas.microsoft.com/office/drawing/2014/main" id="{84229184-A557-7BA2-290B-EC510F09B76F}"/>
              </a:ext>
            </a:extLst>
          </p:cNvPr>
          <p:cNvSpPr/>
          <p:nvPr/>
        </p:nvSpPr>
        <p:spPr bwMode="auto">
          <a:xfrm>
            <a:off x="685172" y="1564349"/>
            <a:ext cx="3063877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00" dirty="0">
                <a:solidFill>
                  <a:srgbClr val="FFFFFF"/>
                </a:solidFill>
              </a:rPr>
              <a:t>A DILEMMA FOR HOCKEY CLUBS</a:t>
            </a:r>
          </a:p>
        </p:txBody>
      </p:sp>
      <p:cxnSp>
        <p:nvCxnSpPr>
          <p:cNvPr id="22" name="Gerader Verbinder 104">
            <a:extLst>
              <a:ext uri="{FF2B5EF4-FFF2-40B4-BE49-F238E27FC236}">
                <a16:creationId xmlns:a16="http://schemas.microsoft.com/office/drawing/2014/main" id="{D515F3B8-529F-CAB6-FA19-89C62ECD3589}"/>
              </a:ext>
            </a:extLst>
          </p:cNvPr>
          <p:cNvCxnSpPr/>
          <p:nvPr/>
        </p:nvCxnSpPr>
        <p:spPr>
          <a:xfrm>
            <a:off x="779413" y="4299942"/>
            <a:ext cx="6384875" cy="0"/>
          </a:xfrm>
          <a:prstGeom prst="line">
            <a:avLst/>
          </a:prstGeom>
          <a:ln w="3175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Arrow: Curved Right 4">
            <a:extLst>
              <a:ext uri="{FF2B5EF4-FFF2-40B4-BE49-F238E27FC236}">
                <a16:creationId xmlns:a16="http://schemas.microsoft.com/office/drawing/2014/main" id="{4E4B1FAC-FC45-648C-1B3F-7F674CC034FC}"/>
              </a:ext>
            </a:extLst>
          </p:cNvPr>
          <p:cNvSpPr/>
          <p:nvPr/>
        </p:nvSpPr>
        <p:spPr bwMode="auto">
          <a:xfrm rot="5400000">
            <a:off x="6348513" y="578594"/>
            <a:ext cx="793495" cy="2368491"/>
          </a:xfrm>
          <a:prstGeom prst="curvedRightArrow">
            <a:avLst>
              <a:gd name="adj1" fmla="val 21320"/>
              <a:gd name="adj2" fmla="val 32351"/>
              <a:gd name="adj3" fmla="val 30385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/>
          </a:p>
        </p:txBody>
      </p:sp>
      <p:pic>
        <p:nvPicPr>
          <p:cNvPr id="7" name="Grafik 83">
            <a:extLst>
              <a:ext uri="{FF2B5EF4-FFF2-40B4-BE49-F238E27FC236}">
                <a16:creationId xmlns:a16="http://schemas.microsoft.com/office/drawing/2014/main" id="{D56DBF8C-F7F9-13E4-F4CA-9A5E67BC4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879" y="2079735"/>
            <a:ext cx="1213146" cy="12352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34D6ED-7922-0A24-EB59-42640C2B01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0392" y="2159587"/>
            <a:ext cx="872935" cy="872935"/>
          </a:xfrm>
          <a:prstGeom prst="rect">
            <a:avLst/>
          </a:prstGeom>
        </p:spPr>
      </p:pic>
      <p:sp>
        <p:nvSpPr>
          <p:cNvPr id="9" name="Arrow: Curved Right 8">
            <a:extLst>
              <a:ext uri="{FF2B5EF4-FFF2-40B4-BE49-F238E27FC236}">
                <a16:creationId xmlns:a16="http://schemas.microsoft.com/office/drawing/2014/main" id="{78B90C34-64FA-77DF-A403-4B2AD4FD69E9}"/>
              </a:ext>
            </a:extLst>
          </p:cNvPr>
          <p:cNvSpPr/>
          <p:nvPr/>
        </p:nvSpPr>
        <p:spPr bwMode="auto">
          <a:xfrm rot="5400000" flipH="1" flipV="1">
            <a:off x="6339965" y="2295689"/>
            <a:ext cx="793495" cy="2368491"/>
          </a:xfrm>
          <a:prstGeom prst="curvedRightArrow">
            <a:avLst>
              <a:gd name="adj1" fmla="val 21320"/>
              <a:gd name="adj2" fmla="val 32351"/>
              <a:gd name="adj3" fmla="val 30385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DD8D44-13B5-EC5D-67EE-8D227EBEC1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968" y="3627133"/>
            <a:ext cx="497488" cy="4974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9C9E196-D03D-92C3-B35E-B46AFAF469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725" y="961251"/>
            <a:ext cx="496002" cy="497488"/>
          </a:xfrm>
          <a:prstGeom prst="rect">
            <a:avLst/>
          </a:prstGeom>
        </p:spPr>
      </p:pic>
      <p:sp>
        <p:nvSpPr>
          <p:cNvPr id="17" name="Rechteck 19">
            <a:extLst>
              <a:ext uri="{FF2B5EF4-FFF2-40B4-BE49-F238E27FC236}">
                <a16:creationId xmlns:a16="http://schemas.microsoft.com/office/drawing/2014/main" id="{1FF391DC-263E-A734-C639-E341EDAFAA72}"/>
              </a:ext>
            </a:extLst>
          </p:cNvPr>
          <p:cNvSpPr/>
          <p:nvPr/>
        </p:nvSpPr>
        <p:spPr bwMode="auto">
          <a:xfrm>
            <a:off x="3551829" y="1046758"/>
            <a:ext cx="1941776" cy="500328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000" dirty="0">
                <a:solidFill>
                  <a:srgbClr val="FFFFFF"/>
                </a:solidFill>
              </a:rPr>
              <a:t>NEED TO </a:t>
            </a:r>
            <a:r>
              <a:rPr lang="en-US" sz="1000" b="1" dirty="0">
                <a:solidFill>
                  <a:schemeClr val="accent2"/>
                </a:solidFill>
              </a:rPr>
              <a:t>MAXIMIZE REVENUE </a:t>
            </a:r>
            <a:r>
              <a:rPr lang="en-US" sz="1000" dirty="0">
                <a:solidFill>
                  <a:srgbClr val="FFFFFF"/>
                </a:solidFill>
              </a:rPr>
              <a:t>FOR SHORT-TERM SUCCESS AND FINANCIAL VIABILITY</a:t>
            </a:r>
          </a:p>
        </p:txBody>
      </p:sp>
      <p:sp>
        <p:nvSpPr>
          <p:cNvPr id="19" name="Rechteck 21">
            <a:extLst>
              <a:ext uri="{FF2B5EF4-FFF2-40B4-BE49-F238E27FC236}">
                <a16:creationId xmlns:a16="http://schemas.microsoft.com/office/drawing/2014/main" id="{C3EA8DD5-3B93-F169-5E55-DDFDD358348F}"/>
              </a:ext>
            </a:extLst>
          </p:cNvPr>
          <p:cNvSpPr/>
          <p:nvPr/>
        </p:nvSpPr>
        <p:spPr bwMode="auto">
          <a:xfrm>
            <a:off x="7929506" y="3344488"/>
            <a:ext cx="1249031" cy="97147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SEEK TO EXPLOIT ADDRESSABLE AUDIENCES AND </a:t>
            </a:r>
            <a:r>
              <a:rPr lang="en-US" sz="1000" b="1" dirty="0">
                <a:solidFill>
                  <a:schemeClr val="accent2"/>
                </a:solidFill>
              </a:rPr>
              <a:t>UNIQUE CLUB ATTRIBUTES</a:t>
            </a:r>
          </a:p>
        </p:txBody>
      </p:sp>
      <p:cxnSp>
        <p:nvCxnSpPr>
          <p:cNvPr id="20" name="Gerader Verbinder 22">
            <a:extLst>
              <a:ext uri="{FF2B5EF4-FFF2-40B4-BE49-F238E27FC236}">
                <a16:creationId xmlns:a16="http://schemas.microsoft.com/office/drawing/2014/main" id="{2209AD13-5003-6FBA-DBF7-45B6C95597F6}"/>
              </a:ext>
            </a:extLst>
          </p:cNvPr>
          <p:cNvCxnSpPr>
            <a:cxnSpLocks/>
          </p:cNvCxnSpPr>
          <p:nvPr/>
        </p:nvCxnSpPr>
        <p:spPr>
          <a:xfrm>
            <a:off x="5513975" y="1046758"/>
            <a:ext cx="0" cy="1057513"/>
          </a:xfrm>
          <a:prstGeom prst="line">
            <a:avLst/>
          </a:prstGeom>
          <a:ln w="3175">
            <a:solidFill>
              <a:schemeClr val="bg1"/>
            </a:solidFill>
            <a:miter lim="800000"/>
            <a:tailEnd type="oval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7">
            <a:extLst>
              <a:ext uri="{FF2B5EF4-FFF2-40B4-BE49-F238E27FC236}">
                <a16:creationId xmlns:a16="http://schemas.microsoft.com/office/drawing/2014/main" id="{745CD2BD-588F-3D76-A9A6-BC5FE2DB95CE}"/>
              </a:ext>
            </a:extLst>
          </p:cNvPr>
          <p:cNvCxnSpPr>
            <a:cxnSpLocks/>
          </p:cNvCxnSpPr>
          <p:nvPr/>
        </p:nvCxnSpPr>
        <p:spPr>
          <a:xfrm flipH="1" flipV="1">
            <a:off x="7928771" y="2971836"/>
            <a:ext cx="735" cy="1344130"/>
          </a:xfrm>
          <a:prstGeom prst="line">
            <a:avLst/>
          </a:prstGeom>
          <a:ln w="3175">
            <a:solidFill>
              <a:schemeClr val="bg1"/>
            </a:solidFill>
            <a:miter lim="800000"/>
            <a:tailEnd type="oval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32AAE418-92E8-7DE3-1EB2-C9A242BF68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039" y="2125466"/>
            <a:ext cx="872935" cy="87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13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ree 50 Euro Bill on Brown Wooden Table Stock Photo">
            <a:extLst>
              <a:ext uri="{FF2B5EF4-FFF2-40B4-BE49-F238E27FC236}">
                <a16:creationId xmlns:a16="http://schemas.microsoft.com/office/drawing/2014/main" id="{5D5465C4-1083-2C02-7B2D-D5DF4C4251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9"/>
          <a:stretch/>
        </p:blipFill>
        <p:spPr bwMode="auto">
          <a:xfrm rot="16200000">
            <a:off x="2000428" y="-2000428"/>
            <a:ext cx="5143500" cy="914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Rechteck 99"/>
          <p:cNvSpPr/>
          <p:nvPr/>
        </p:nvSpPr>
        <p:spPr bwMode="auto">
          <a:xfrm>
            <a:off x="2" y="-1117"/>
            <a:ext cx="9143998" cy="4628275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899592" y="2291562"/>
            <a:ext cx="1620000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I. Avoid </a:t>
            </a:r>
            <a:r>
              <a:rPr lang="en-US" sz="1200" b="1" dirty="0">
                <a:solidFill>
                  <a:schemeClr val="accent2"/>
                </a:solidFill>
              </a:rPr>
              <a:t>cluttered sponsorship </a:t>
            </a:r>
            <a:r>
              <a:rPr lang="en-US" sz="1200" b="1" dirty="0">
                <a:solidFill>
                  <a:srgbClr val="FFFFFF"/>
                </a:solidFill>
              </a:rPr>
              <a:t>environments!</a:t>
            </a:r>
          </a:p>
        </p:txBody>
      </p:sp>
      <p:sp>
        <p:nvSpPr>
          <p:cNvPr id="58" name="Rechteck 57"/>
          <p:cNvSpPr/>
          <p:nvPr/>
        </p:nvSpPr>
        <p:spPr bwMode="auto">
          <a:xfrm>
            <a:off x="2693579" y="2291562"/>
            <a:ext cx="1950428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II. Exploit opportunities arising from </a:t>
            </a:r>
            <a:r>
              <a:rPr lang="en-US" sz="1200" b="1" dirty="0">
                <a:solidFill>
                  <a:schemeClr val="accent2"/>
                </a:solidFill>
              </a:rPr>
              <a:t>technological advances</a:t>
            </a:r>
            <a:r>
              <a:rPr lang="en-US" sz="12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59" name="Rechteck 58"/>
          <p:cNvSpPr/>
          <p:nvPr/>
        </p:nvSpPr>
        <p:spPr bwMode="auto">
          <a:xfrm>
            <a:off x="4768707" y="2291562"/>
            <a:ext cx="1620000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III. Be deliberate in your </a:t>
            </a:r>
            <a:r>
              <a:rPr lang="en-US" sz="1200" b="1" dirty="0">
                <a:solidFill>
                  <a:schemeClr val="accent2"/>
                </a:solidFill>
              </a:rPr>
              <a:t>partner selection</a:t>
            </a:r>
            <a:r>
              <a:rPr lang="en-US" sz="1200" b="1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60" name="Rechteck 59"/>
          <p:cNvSpPr/>
          <p:nvPr/>
        </p:nvSpPr>
        <p:spPr bwMode="auto">
          <a:xfrm>
            <a:off x="6876255" y="2291562"/>
            <a:ext cx="1259962" cy="4065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tabLst>
                <a:tab pos="1162050" algn="l"/>
              </a:tabLst>
            </a:pPr>
            <a:r>
              <a:rPr lang="en-US" sz="1200" b="1" dirty="0">
                <a:solidFill>
                  <a:srgbClr val="FFFFFF"/>
                </a:solidFill>
              </a:rPr>
              <a:t>IV. Protect your </a:t>
            </a:r>
            <a:r>
              <a:rPr lang="en-US" sz="1200" b="1" dirty="0">
                <a:solidFill>
                  <a:schemeClr val="accent2"/>
                </a:solidFill>
              </a:rPr>
              <a:t>club brand identity</a:t>
            </a:r>
            <a:r>
              <a:rPr lang="en-US" sz="1200" b="1" dirty="0">
                <a:solidFill>
                  <a:schemeClr val="bg1"/>
                </a:solidFill>
              </a:rPr>
              <a:t>!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1708772" y="1635647"/>
            <a:ext cx="5832734" cy="1491862"/>
            <a:chOff x="1143814" y="1379262"/>
            <a:chExt cx="5832734" cy="1238970"/>
          </a:xfrm>
        </p:grpSpPr>
        <p:cxnSp>
          <p:nvCxnSpPr>
            <p:cNvPr id="67" name="Gerader Verbinder 66"/>
            <p:cNvCxnSpPr/>
            <p:nvPr/>
          </p:nvCxnSpPr>
          <p:spPr>
            <a:xfrm flipV="1">
              <a:off x="1143814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r Verbinder 73"/>
            <p:cNvCxnSpPr/>
            <p:nvPr/>
          </p:nvCxnSpPr>
          <p:spPr>
            <a:xfrm flipV="1">
              <a:off x="3105122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/>
            <p:cNvCxnSpPr/>
            <p:nvPr/>
          </p:nvCxnSpPr>
          <p:spPr>
            <a:xfrm flipV="1">
              <a:off x="5015154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r Verbinder 75"/>
            <p:cNvCxnSpPr/>
            <p:nvPr/>
          </p:nvCxnSpPr>
          <p:spPr>
            <a:xfrm flipV="1">
              <a:off x="6942278" y="2330232"/>
              <a:ext cx="0" cy="288000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66">
              <a:extLst>
                <a:ext uri="{FF2B5EF4-FFF2-40B4-BE49-F238E27FC236}">
                  <a16:creationId xmlns:a16="http://schemas.microsoft.com/office/drawing/2014/main" id="{1AFA2EA0-2D7D-010D-7CB9-E0E98F8F0C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98730" y="1379262"/>
              <a:ext cx="1368152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73">
              <a:extLst>
                <a:ext uri="{FF2B5EF4-FFF2-40B4-BE49-F238E27FC236}">
                  <a16:creationId xmlns:a16="http://schemas.microsoft.com/office/drawing/2014/main" id="{411DF21B-9850-1C40-D45C-FEC9467A71DE}"/>
                </a:ext>
              </a:extLst>
            </p:cNvPr>
            <p:cNvCxnSpPr/>
            <p:nvPr/>
          </p:nvCxnSpPr>
          <p:spPr>
            <a:xfrm flipV="1">
              <a:off x="3105122" y="1379262"/>
              <a:ext cx="0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73">
              <a:extLst>
                <a:ext uri="{FF2B5EF4-FFF2-40B4-BE49-F238E27FC236}">
                  <a16:creationId xmlns:a16="http://schemas.microsoft.com/office/drawing/2014/main" id="{1B21187E-63D8-E27C-FDB1-0EB5D19E0D4C}"/>
                </a:ext>
              </a:extLst>
            </p:cNvPr>
            <p:cNvCxnSpPr/>
            <p:nvPr/>
          </p:nvCxnSpPr>
          <p:spPr>
            <a:xfrm flipV="1">
              <a:off x="5015154" y="1379262"/>
              <a:ext cx="0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66">
              <a:extLst>
                <a:ext uri="{FF2B5EF4-FFF2-40B4-BE49-F238E27FC236}">
                  <a16:creationId xmlns:a16="http://schemas.microsoft.com/office/drawing/2014/main" id="{685A23FA-D2FE-78A0-0AF1-F0773A5CEDC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608396" y="1379262"/>
              <a:ext cx="1368152" cy="407603"/>
            </a:xfrm>
            <a:prstGeom prst="line">
              <a:avLst/>
            </a:prstGeom>
            <a:ln w="3175">
              <a:solidFill>
                <a:schemeClr val="bg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4" name="Grafik 8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5250" y="3210114"/>
            <a:ext cx="1213146" cy="1235204"/>
          </a:xfrm>
          <a:prstGeom prst="rect">
            <a:avLst/>
          </a:prstGeom>
        </p:spPr>
      </p:pic>
      <p:pic>
        <p:nvPicPr>
          <p:cNvPr id="85" name="Grafik 8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3462" y="3210114"/>
            <a:ext cx="1213146" cy="1235204"/>
          </a:xfrm>
          <a:prstGeom prst="rect">
            <a:avLst/>
          </a:prstGeom>
        </p:spPr>
      </p:pic>
      <p:pic>
        <p:nvPicPr>
          <p:cNvPr id="86" name="Grafik 8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1210" y="3210114"/>
            <a:ext cx="1213146" cy="1235204"/>
          </a:xfrm>
          <a:prstGeom prst="rect">
            <a:avLst/>
          </a:prstGeom>
        </p:spPr>
      </p:pic>
      <p:pic>
        <p:nvPicPr>
          <p:cNvPr id="87" name="Grafik 8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9788" y="3210114"/>
            <a:ext cx="1213146" cy="12352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4D3FD4-A86B-5509-1EAE-234BEFAB66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252" y="3409501"/>
            <a:ext cx="839566" cy="8395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7A5B5B5-0BC1-41FF-9425-CBEE8A2055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993" y="3362916"/>
            <a:ext cx="839566" cy="8395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4D178A6-9370-806C-CB0E-21BFD05E49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453" y="3425779"/>
            <a:ext cx="839566" cy="8395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A17DCEF-3D6E-0ED2-898E-EF175FF704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824" y="3479166"/>
            <a:ext cx="685896" cy="685896"/>
          </a:xfrm>
          <a:prstGeom prst="rect">
            <a:avLst/>
          </a:prstGeom>
        </p:spPr>
      </p:pic>
      <p:sp>
        <p:nvSpPr>
          <p:cNvPr id="147" name="Freihandform 146"/>
          <p:cNvSpPr/>
          <p:nvPr/>
        </p:nvSpPr>
        <p:spPr bwMode="auto">
          <a:xfrm>
            <a:off x="-12868" y="3567831"/>
            <a:ext cx="9156867" cy="2476238"/>
          </a:xfrm>
          <a:custGeom>
            <a:avLst/>
            <a:gdLst>
              <a:gd name="connsiteX0" fmla="*/ 7014633 w 9156867"/>
              <a:gd name="connsiteY0" fmla="*/ 1626424 h 2476238"/>
              <a:gd name="connsiteX1" fmla="*/ 6942634 w 9156867"/>
              <a:gd name="connsiteY1" fmla="*/ 1698423 h 2476238"/>
              <a:gd name="connsiteX2" fmla="*/ 6942634 w 9156867"/>
              <a:gd name="connsiteY2" fmla="*/ 1806453 h 2476238"/>
              <a:gd name="connsiteX3" fmla="*/ 7014633 w 9156867"/>
              <a:gd name="connsiteY3" fmla="*/ 1878452 h 2476238"/>
              <a:gd name="connsiteX4" fmla="*/ 8337294 w 9156867"/>
              <a:gd name="connsiteY4" fmla="*/ 1878452 h 2476238"/>
              <a:gd name="connsiteX5" fmla="*/ 8409293 w 9156867"/>
              <a:gd name="connsiteY5" fmla="*/ 1806453 h 2476238"/>
              <a:gd name="connsiteX6" fmla="*/ 8409293 w 9156867"/>
              <a:gd name="connsiteY6" fmla="*/ 1698423 h 2476238"/>
              <a:gd name="connsiteX7" fmla="*/ 8337294 w 9156867"/>
              <a:gd name="connsiteY7" fmla="*/ 1626424 h 2476238"/>
              <a:gd name="connsiteX8" fmla="*/ 5461667 w 9156867"/>
              <a:gd name="connsiteY8" fmla="*/ 1626424 h 2476238"/>
              <a:gd name="connsiteX9" fmla="*/ 5389668 w 9156867"/>
              <a:gd name="connsiteY9" fmla="*/ 1698423 h 2476238"/>
              <a:gd name="connsiteX10" fmla="*/ 5389668 w 9156867"/>
              <a:gd name="connsiteY10" fmla="*/ 1806453 h 2476238"/>
              <a:gd name="connsiteX11" fmla="*/ 5461667 w 9156867"/>
              <a:gd name="connsiteY11" fmla="*/ 1878452 h 2476238"/>
              <a:gd name="connsiteX12" fmla="*/ 6784328 w 9156867"/>
              <a:gd name="connsiteY12" fmla="*/ 1878452 h 2476238"/>
              <a:gd name="connsiteX13" fmla="*/ 6856327 w 9156867"/>
              <a:gd name="connsiteY13" fmla="*/ 1806453 h 2476238"/>
              <a:gd name="connsiteX14" fmla="*/ 6856327 w 9156867"/>
              <a:gd name="connsiteY14" fmla="*/ 1698423 h 2476238"/>
              <a:gd name="connsiteX15" fmla="*/ 6784328 w 9156867"/>
              <a:gd name="connsiteY15" fmla="*/ 1626424 h 2476238"/>
              <a:gd name="connsiteX16" fmla="*/ 3908701 w 9156867"/>
              <a:gd name="connsiteY16" fmla="*/ 1626424 h 2476238"/>
              <a:gd name="connsiteX17" fmla="*/ 3836702 w 9156867"/>
              <a:gd name="connsiteY17" fmla="*/ 1698423 h 2476238"/>
              <a:gd name="connsiteX18" fmla="*/ 3836702 w 9156867"/>
              <a:gd name="connsiteY18" fmla="*/ 1806453 h 2476238"/>
              <a:gd name="connsiteX19" fmla="*/ 3908701 w 9156867"/>
              <a:gd name="connsiteY19" fmla="*/ 1878452 h 2476238"/>
              <a:gd name="connsiteX20" fmla="*/ 5231362 w 9156867"/>
              <a:gd name="connsiteY20" fmla="*/ 1878452 h 2476238"/>
              <a:gd name="connsiteX21" fmla="*/ 5303361 w 9156867"/>
              <a:gd name="connsiteY21" fmla="*/ 1806453 h 2476238"/>
              <a:gd name="connsiteX22" fmla="*/ 5303361 w 9156867"/>
              <a:gd name="connsiteY22" fmla="*/ 1698423 h 2476238"/>
              <a:gd name="connsiteX23" fmla="*/ 5231362 w 9156867"/>
              <a:gd name="connsiteY23" fmla="*/ 1626424 h 2476238"/>
              <a:gd name="connsiteX24" fmla="*/ 2355735 w 9156867"/>
              <a:gd name="connsiteY24" fmla="*/ 1626424 h 2476238"/>
              <a:gd name="connsiteX25" fmla="*/ 2283736 w 9156867"/>
              <a:gd name="connsiteY25" fmla="*/ 1698423 h 2476238"/>
              <a:gd name="connsiteX26" fmla="*/ 2283736 w 9156867"/>
              <a:gd name="connsiteY26" fmla="*/ 1806453 h 2476238"/>
              <a:gd name="connsiteX27" fmla="*/ 2355735 w 9156867"/>
              <a:gd name="connsiteY27" fmla="*/ 1878452 h 2476238"/>
              <a:gd name="connsiteX28" fmla="*/ 3678396 w 9156867"/>
              <a:gd name="connsiteY28" fmla="*/ 1878452 h 2476238"/>
              <a:gd name="connsiteX29" fmla="*/ 3750395 w 9156867"/>
              <a:gd name="connsiteY29" fmla="*/ 1806453 h 2476238"/>
              <a:gd name="connsiteX30" fmla="*/ 3750395 w 9156867"/>
              <a:gd name="connsiteY30" fmla="*/ 1698423 h 2476238"/>
              <a:gd name="connsiteX31" fmla="*/ 3678396 w 9156867"/>
              <a:gd name="connsiteY31" fmla="*/ 1626424 h 2476238"/>
              <a:gd name="connsiteX32" fmla="*/ 802769 w 9156867"/>
              <a:gd name="connsiteY32" fmla="*/ 1626424 h 2476238"/>
              <a:gd name="connsiteX33" fmla="*/ 730771 w 9156867"/>
              <a:gd name="connsiteY33" fmla="*/ 1698423 h 2476238"/>
              <a:gd name="connsiteX34" fmla="*/ 730771 w 9156867"/>
              <a:gd name="connsiteY34" fmla="*/ 1806453 h 2476238"/>
              <a:gd name="connsiteX35" fmla="*/ 802769 w 9156867"/>
              <a:gd name="connsiteY35" fmla="*/ 1878452 h 2476238"/>
              <a:gd name="connsiteX36" fmla="*/ 2125430 w 9156867"/>
              <a:gd name="connsiteY36" fmla="*/ 1878452 h 2476238"/>
              <a:gd name="connsiteX37" fmla="*/ 2197429 w 9156867"/>
              <a:gd name="connsiteY37" fmla="*/ 1806453 h 2476238"/>
              <a:gd name="connsiteX38" fmla="*/ 2197429 w 9156867"/>
              <a:gd name="connsiteY38" fmla="*/ 1698423 h 2476238"/>
              <a:gd name="connsiteX39" fmla="*/ 2125430 w 9156867"/>
              <a:gd name="connsiteY39" fmla="*/ 1626424 h 2476238"/>
              <a:gd name="connsiteX40" fmla="*/ 882539 w 9156867"/>
              <a:gd name="connsiteY40" fmla="*/ 0 h 2476238"/>
              <a:gd name="connsiteX41" fmla="*/ 947162 w 9156867"/>
              <a:gd name="connsiteY41" fmla="*/ 0 h 2476238"/>
              <a:gd name="connsiteX42" fmla="*/ 949342 w 9156867"/>
              <a:gd name="connsiteY42" fmla="*/ 330 h 2476238"/>
              <a:gd name="connsiteX43" fmla="*/ 1001651 w 9156867"/>
              <a:gd name="connsiteY43" fmla="*/ 47757 h 2476238"/>
              <a:gd name="connsiteX44" fmla="*/ 1002925 w 9156867"/>
              <a:gd name="connsiteY44" fmla="*/ 54065 h 2476238"/>
              <a:gd name="connsiteX45" fmla="*/ 1007816 w 9156867"/>
              <a:gd name="connsiteY45" fmla="*/ 61320 h 2476238"/>
              <a:gd name="connsiteX46" fmla="*/ 1016358 w 9156867"/>
              <a:gd name="connsiteY46" fmla="*/ 103631 h 2476238"/>
              <a:gd name="connsiteX47" fmla="*/ 1009999 w 9156867"/>
              <a:gd name="connsiteY47" fmla="*/ 135127 h 2476238"/>
              <a:gd name="connsiteX48" fmla="*/ 1010800 w 9156867"/>
              <a:gd name="connsiteY48" fmla="*/ 136549 h 2476238"/>
              <a:gd name="connsiteX49" fmla="*/ 994833 w 9156867"/>
              <a:gd name="connsiteY49" fmla="*/ 242161 h 2476238"/>
              <a:gd name="connsiteX50" fmla="*/ 1717964 w 9156867"/>
              <a:gd name="connsiteY50" fmla="*/ 965292 h 2476238"/>
              <a:gd name="connsiteX51" fmla="*/ 2441095 w 9156867"/>
              <a:gd name="connsiteY51" fmla="*/ 242161 h 2476238"/>
              <a:gd name="connsiteX52" fmla="*/ 2427548 w 9156867"/>
              <a:gd name="connsiteY52" fmla="*/ 152553 h 2476238"/>
              <a:gd name="connsiteX53" fmla="*/ 2423092 w 9156867"/>
              <a:gd name="connsiteY53" fmla="*/ 145943 h 2476238"/>
              <a:gd name="connsiteX54" fmla="*/ 2414549 w 9156867"/>
              <a:gd name="connsiteY54" fmla="*/ 103631 h 2476238"/>
              <a:gd name="connsiteX55" fmla="*/ 2446388 w 9156867"/>
              <a:gd name="connsiteY55" fmla="*/ 26767 h 2476238"/>
              <a:gd name="connsiteX56" fmla="*/ 2449980 w 9156867"/>
              <a:gd name="connsiteY56" fmla="*/ 24346 h 2476238"/>
              <a:gd name="connsiteX57" fmla="*/ 2452160 w 9156867"/>
              <a:gd name="connsiteY57" fmla="*/ 21112 h 2476238"/>
              <a:gd name="connsiteX58" fmla="*/ 2478804 w 9156867"/>
              <a:gd name="connsiteY58" fmla="*/ 3148 h 2476238"/>
              <a:gd name="connsiteX59" fmla="*/ 2494397 w 9156867"/>
              <a:gd name="connsiteY59" fmla="*/ 0 h 2476238"/>
              <a:gd name="connsiteX60" fmla="*/ 2548369 w 9156867"/>
              <a:gd name="connsiteY60" fmla="*/ 0 h 2476238"/>
              <a:gd name="connsiteX61" fmla="*/ 2550588 w 9156867"/>
              <a:gd name="connsiteY61" fmla="*/ 448 h 2476238"/>
              <a:gd name="connsiteX62" fmla="*/ 2807663 w 9156867"/>
              <a:gd name="connsiteY62" fmla="*/ 448 h 2476238"/>
              <a:gd name="connsiteX63" fmla="*/ 2809882 w 9156867"/>
              <a:gd name="connsiteY63" fmla="*/ 0 h 2476238"/>
              <a:gd name="connsiteX64" fmla="*/ 2875841 w 9156867"/>
              <a:gd name="connsiteY64" fmla="*/ 0 h 2476238"/>
              <a:gd name="connsiteX65" fmla="*/ 2878021 w 9156867"/>
              <a:gd name="connsiteY65" fmla="*/ 330 h 2476238"/>
              <a:gd name="connsiteX66" fmla="*/ 2930330 w 9156867"/>
              <a:gd name="connsiteY66" fmla="*/ 47757 h 2476238"/>
              <a:gd name="connsiteX67" fmla="*/ 2932175 w 9156867"/>
              <a:gd name="connsiteY67" fmla="*/ 56894 h 2476238"/>
              <a:gd name="connsiteX68" fmla="*/ 2935159 w 9156867"/>
              <a:gd name="connsiteY68" fmla="*/ 61320 h 2476238"/>
              <a:gd name="connsiteX69" fmla="*/ 2943701 w 9156867"/>
              <a:gd name="connsiteY69" fmla="*/ 103631 h 2476238"/>
              <a:gd name="connsiteX70" fmla="*/ 2935159 w 9156867"/>
              <a:gd name="connsiteY70" fmla="*/ 145943 h 2476238"/>
              <a:gd name="connsiteX71" fmla="*/ 2931925 w 9156867"/>
              <a:gd name="connsiteY71" fmla="*/ 150739 h 2476238"/>
              <a:gd name="connsiteX72" fmla="*/ 2918103 w 9156867"/>
              <a:gd name="connsiteY72" fmla="*/ 242161 h 2476238"/>
              <a:gd name="connsiteX73" fmla="*/ 3641234 w 9156867"/>
              <a:gd name="connsiteY73" fmla="*/ 965292 h 2476238"/>
              <a:gd name="connsiteX74" fmla="*/ 4364365 w 9156867"/>
              <a:gd name="connsiteY74" fmla="*/ 242161 h 2476238"/>
              <a:gd name="connsiteX75" fmla="*/ 4350970 w 9156867"/>
              <a:gd name="connsiteY75" fmla="*/ 153560 h 2476238"/>
              <a:gd name="connsiteX76" fmla="*/ 4345834 w 9156867"/>
              <a:gd name="connsiteY76" fmla="*/ 145943 h 2476238"/>
              <a:gd name="connsiteX77" fmla="*/ 4337292 w 9156867"/>
              <a:gd name="connsiteY77" fmla="*/ 103631 h 2476238"/>
              <a:gd name="connsiteX78" fmla="*/ 4369130 w 9156867"/>
              <a:gd name="connsiteY78" fmla="*/ 26767 h 2476238"/>
              <a:gd name="connsiteX79" fmla="*/ 4371657 w 9156867"/>
              <a:gd name="connsiteY79" fmla="*/ 25064 h 2476238"/>
              <a:gd name="connsiteX80" fmla="*/ 4374321 w 9156867"/>
              <a:gd name="connsiteY80" fmla="*/ 21112 h 2476238"/>
              <a:gd name="connsiteX81" fmla="*/ 4400966 w 9156867"/>
              <a:gd name="connsiteY81" fmla="*/ 3148 h 2476238"/>
              <a:gd name="connsiteX82" fmla="*/ 4416559 w 9156867"/>
              <a:gd name="connsiteY82" fmla="*/ 0 h 2476238"/>
              <a:gd name="connsiteX83" fmla="*/ 4471111 w 9156867"/>
              <a:gd name="connsiteY83" fmla="*/ 0 h 2476238"/>
              <a:gd name="connsiteX84" fmla="*/ 4473330 w 9156867"/>
              <a:gd name="connsiteY84" fmla="*/ 448 h 2476238"/>
              <a:gd name="connsiteX85" fmla="*/ 4722431 w 9156867"/>
              <a:gd name="connsiteY85" fmla="*/ 448 h 2476238"/>
              <a:gd name="connsiteX86" fmla="*/ 4724650 w 9156867"/>
              <a:gd name="connsiteY86" fmla="*/ 0 h 2476238"/>
              <a:gd name="connsiteX87" fmla="*/ 4792290 w 9156867"/>
              <a:gd name="connsiteY87" fmla="*/ 0 h 2476238"/>
              <a:gd name="connsiteX88" fmla="*/ 4807884 w 9156867"/>
              <a:gd name="connsiteY88" fmla="*/ 3148 h 2476238"/>
              <a:gd name="connsiteX89" fmla="*/ 4859079 w 9156867"/>
              <a:gd name="connsiteY89" fmla="*/ 80384 h 2476238"/>
              <a:gd name="connsiteX90" fmla="*/ 4856428 w 9156867"/>
              <a:gd name="connsiteY90" fmla="*/ 93519 h 2476238"/>
              <a:gd name="connsiteX91" fmla="*/ 4858469 w 9156867"/>
              <a:gd name="connsiteY91" fmla="*/ 103631 h 2476238"/>
              <a:gd name="connsiteX92" fmla="*/ 4853922 w 9156867"/>
              <a:gd name="connsiteY92" fmla="*/ 126153 h 2476238"/>
              <a:gd name="connsiteX93" fmla="*/ 4857856 w 9156867"/>
              <a:gd name="connsiteY93" fmla="*/ 133141 h 2476238"/>
              <a:gd name="connsiteX94" fmla="*/ 4841373 w 9156867"/>
              <a:gd name="connsiteY94" fmla="*/ 242161 h 2476238"/>
              <a:gd name="connsiteX95" fmla="*/ 5564504 w 9156867"/>
              <a:gd name="connsiteY95" fmla="*/ 965292 h 2476238"/>
              <a:gd name="connsiteX96" fmla="*/ 6287635 w 9156867"/>
              <a:gd name="connsiteY96" fmla="*/ 242161 h 2476238"/>
              <a:gd name="connsiteX97" fmla="*/ 6270855 w 9156867"/>
              <a:gd name="connsiteY97" fmla="*/ 131166 h 2476238"/>
              <a:gd name="connsiteX98" fmla="*/ 6272653 w 9156867"/>
              <a:gd name="connsiteY98" fmla="*/ 127973 h 2476238"/>
              <a:gd name="connsiteX99" fmla="*/ 6267738 w 9156867"/>
              <a:gd name="connsiteY99" fmla="*/ 103631 h 2476238"/>
              <a:gd name="connsiteX100" fmla="*/ 6276281 w 9156867"/>
              <a:gd name="connsiteY100" fmla="*/ 61320 h 2476238"/>
              <a:gd name="connsiteX101" fmla="*/ 6281023 w 9156867"/>
              <a:gd name="connsiteY101" fmla="*/ 54285 h 2476238"/>
              <a:gd name="connsiteX102" fmla="*/ 6282342 w 9156867"/>
              <a:gd name="connsiteY102" fmla="*/ 47757 h 2476238"/>
              <a:gd name="connsiteX103" fmla="*/ 6334651 w 9156867"/>
              <a:gd name="connsiteY103" fmla="*/ 330 h 2476238"/>
              <a:gd name="connsiteX104" fmla="*/ 6336831 w 9156867"/>
              <a:gd name="connsiteY104" fmla="*/ 0 h 2476238"/>
              <a:gd name="connsiteX105" fmla="*/ 6401558 w 9156867"/>
              <a:gd name="connsiteY105" fmla="*/ 0 h 2476238"/>
              <a:gd name="connsiteX106" fmla="*/ 6403777 w 9156867"/>
              <a:gd name="connsiteY106" fmla="*/ 448 h 2476238"/>
              <a:gd name="connsiteX107" fmla="*/ 6652877 w 9156867"/>
              <a:gd name="connsiteY107" fmla="*/ 448 h 2476238"/>
              <a:gd name="connsiteX108" fmla="*/ 6655096 w 9156867"/>
              <a:gd name="connsiteY108" fmla="*/ 0 h 2476238"/>
              <a:gd name="connsiteX109" fmla="*/ 6719754 w 9156867"/>
              <a:gd name="connsiteY109" fmla="*/ 0 h 2476238"/>
              <a:gd name="connsiteX110" fmla="*/ 6721934 w 9156867"/>
              <a:gd name="connsiteY110" fmla="*/ 330 h 2476238"/>
              <a:gd name="connsiteX111" fmla="*/ 6774243 w 9156867"/>
              <a:gd name="connsiteY111" fmla="*/ 47757 h 2476238"/>
              <a:gd name="connsiteX112" fmla="*/ 6775532 w 9156867"/>
              <a:gd name="connsiteY112" fmla="*/ 54139 h 2476238"/>
              <a:gd name="connsiteX113" fmla="*/ 6780373 w 9156867"/>
              <a:gd name="connsiteY113" fmla="*/ 61320 h 2476238"/>
              <a:gd name="connsiteX114" fmla="*/ 6788915 w 9156867"/>
              <a:gd name="connsiteY114" fmla="*/ 103631 h 2476238"/>
              <a:gd name="connsiteX115" fmla="*/ 6780373 w 9156867"/>
              <a:gd name="connsiteY115" fmla="*/ 145943 h 2476238"/>
              <a:gd name="connsiteX116" fmla="*/ 6778849 w 9156867"/>
              <a:gd name="connsiteY116" fmla="*/ 148203 h 2476238"/>
              <a:gd name="connsiteX117" fmla="*/ 6764643 w 9156867"/>
              <a:gd name="connsiteY117" fmla="*/ 242161 h 2476238"/>
              <a:gd name="connsiteX118" fmla="*/ 7487774 w 9156867"/>
              <a:gd name="connsiteY118" fmla="*/ 965292 h 2476238"/>
              <a:gd name="connsiteX119" fmla="*/ 8210905 w 9156867"/>
              <a:gd name="connsiteY119" fmla="*/ 242161 h 2476238"/>
              <a:gd name="connsiteX120" fmla="*/ 8194867 w 9156867"/>
              <a:gd name="connsiteY120" fmla="*/ 136078 h 2476238"/>
              <a:gd name="connsiteX121" fmla="*/ 8198190 w 9156867"/>
              <a:gd name="connsiteY121" fmla="*/ 130176 h 2476238"/>
              <a:gd name="connsiteX122" fmla="*/ 8192831 w 9156867"/>
              <a:gd name="connsiteY122" fmla="*/ 103631 h 2476238"/>
              <a:gd name="connsiteX123" fmla="*/ 8196130 w 9156867"/>
              <a:gd name="connsiteY123" fmla="*/ 87290 h 2476238"/>
              <a:gd name="connsiteX124" fmla="*/ 8194736 w 9156867"/>
              <a:gd name="connsiteY124" fmla="*/ 80384 h 2476238"/>
              <a:gd name="connsiteX125" fmla="*/ 8245932 w 9156867"/>
              <a:gd name="connsiteY125" fmla="*/ 3148 h 2476238"/>
              <a:gd name="connsiteX126" fmla="*/ 8261525 w 9156867"/>
              <a:gd name="connsiteY126" fmla="*/ 0 h 2476238"/>
              <a:gd name="connsiteX127" fmla="*/ 8326651 w 9156867"/>
              <a:gd name="connsiteY127" fmla="*/ 0 h 2476238"/>
              <a:gd name="connsiteX128" fmla="*/ 8328870 w 9156867"/>
              <a:gd name="connsiteY128" fmla="*/ 448 h 2476238"/>
              <a:gd name="connsiteX129" fmla="*/ 9156867 w 9156867"/>
              <a:gd name="connsiteY129" fmla="*/ 448 h 2476238"/>
              <a:gd name="connsiteX130" fmla="*/ 9156867 w 9156867"/>
              <a:gd name="connsiteY130" fmla="*/ 2476238 h 2476238"/>
              <a:gd name="connsiteX131" fmla="*/ 0 w 9156867"/>
              <a:gd name="connsiteY131" fmla="*/ 2476238 h 2476238"/>
              <a:gd name="connsiteX132" fmla="*/ 0 w 9156867"/>
              <a:gd name="connsiteY132" fmla="*/ 448 h 2476238"/>
              <a:gd name="connsiteX133" fmla="*/ 880320 w 9156867"/>
              <a:gd name="connsiteY133" fmla="*/ 448 h 2476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9156867" h="2476238">
                <a:moveTo>
                  <a:pt x="7014633" y="1626424"/>
                </a:moveTo>
                <a:cubicBezTo>
                  <a:pt x="6974869" y="1626424"/>
                  <a:pt x="6942634" y="1658659"/>
                  <a:pt x="6942634" y="1698423"/>
                </a:cubicBezTo>
                <a:lnTo>
                  <a:pt x="6942634" y="1806453"/>
                </a:lnTo>
                <a:cubicBezTo>
                  <a:pt x="6942634" y="1846217"/>
                  <a:pt x="6974869" y="1878452"/>
                  <a:pt x="7014633" y="1878452"/>
                </a:cubicBezTo>
                <a:lnTo>
                  <a:pt x="8337294" y="1878452"/>
                </a:lnTo>
                <a:cubicBezTo>
                  <a:pt x="8377058" y="1878452"/>
                  <a:pt x="8409293" y="1846217"/>
                  <a:pt x="8409293" y="1806453"/>
                </a:cubicBezTo>
                <a:lnTo>
                  <a:pt x="8409293" y="1698423"/>
                </a:lnTo>
                <a:cubicBezTo>
                  <a:pt x="8409293" y="1658659"/>
                  <a:pt x="8377058" y="1626424"/>
                  <a:pt x="8337294" y="1626424"/>
                </a:cubicBezTo>
                <a:close/>
                <a:moveTo>
                  <a:pt x="5461667" y="1626424"/>
                </a:moveTo>
                <a:cubicBezTo>
                  <a:pt x="5421903" y="1626424"/>
                  <a:pt x="5389668" y="1658659"/>
                  <a:pt x="5389668" y="1698423"/>
                </a:cubicBezTo>
                <a:lnTo>
                  <a:pt x="5389668" y="1806453"/>
                </a:lnTo>
                <a:cubicBezTo>
                  <a:pt x="5389668" y="1846217"/>
                  <a:pt x="5421903" y="1878452"/>
                  <a:pt x="5461667" y="1878452"/>
                </a:cubicBezTo>
                <a:lnTo>
                  <a:pt x="6784328" y="1878452"/>
                </a:lnTo>
                <a:cubicBezTo>
                  <a:pt x="6824092" y="1878452"/>
                  <a:pt x="6856327" y="1846217"/>
                  <a:pt x="6856327" y="1806453"/>
                </a:cubicBezTo>
                <a:lnTo>
                  <a:pt x="6856327" y="1698423"/>
                </a:lnTo>
                <a:cubicBezTo>
                  <a:pt x="6856327" y="1658659"/>
                  <a:pt x="6824092" y="1626424"/>
                  <a:pt x="6784328" y="1626424"/>
                </a:cubicBezTo>
                <a:close/>
                <a:moveTo>
                  <a:pt x="3908701" y="1626424"/>
                </a:moveTo>
                <a:cubicBezTo>
                  <a:pt x="3868937" y="1626424"/>
                  <a:pt x="3836702" y="1658659"/>
                  <a:pt x="3836702" y="1698423"/>
                </a:cubicBezTo>
                <a:lnTo>
                  <a:pt x="3836702" y="1806453"/>
                </a:lnTo>
                <a:cubicBezTo>
                  <a:pt x="3836702" y="1846217"/>
                  <a:pt x="3868937" y="1878452"/>
                  <a:pt x="3908701" y="1878452"/>
                </a:cubicBezTo>
                <a:lnTo>
                  <a:pt x="5231362" y="1878452"/>
                </a:lnTo>
                <a:cubicBezTo>
                  <a:pt x="5271126" y="1878452"/>
                  <a:pt x="5303361" y="1846217"/>
                  <a:pt x="5303361" y="1806453"/>
                </a:cubicBezTo>
                <a:lnTo>
                  <a:pt x="5303361" y="1698423"/>
                </a:lnTo>
                <a:cubicBezTo>
                  <a:pt x="5303361" y="1658659"/>
                  <a:pt x="5271126" y="1626424"/>
                  <a:pt x="5231362" y="1626424"/>
                </a:cubicBezTo>
                <a:close/>
                <a:moveTo>
                  <a:pt x="2355735" y="1626424"/>
                </a:moveTo>
                <a:cubicBezTo>
                  <a:pt x="2315972" y="1626424"/>
                  <a:pt x="2283736" y="1658659"/>
                  <a:pt x="2283736" y="1698423"/>
                </a:cubicBezTo>
                <a:lnTo>
                  <a:pt x="2283736" y="1806453"/>
                </a:lnTo>
                <a:cubicBezTo>
                  <a:pt x="2283736" y="1846217"/>
                  <a:pt x="2315972" y="1878452"/>
                  <a:pt x="2355735" y="1878452"/>
                </a:cubicBezTo>
                <a:lnTo>
                  <a:pt x="3678396" y="1878452"/>
                </a:lnTo>
                <a:cubicBezTo>
                  <a:pt x="3718160" y="1878452"/>
                  <a:pt x="3750395" y="1846217"/>
                  <a:pt x="3750395" y="1806453"/>
                </a:cubicBezTo>
                <a:lnTo>
                  <a:pt x="3750395" y="1698423"/>
                </a:lnTo>
                <a:cubicBezTo>
                  <a:pt x="3750395" y="1658659"/>
                  <a:pt x="3718160" y="1626424"/>
                  <a:pt x="3678396" y="1626424"/>
                </a:cubicBezTo>
                <a:close/>
                <a:moveTo>
                  <a:pt x="802769" y="1626424"/>
                </a:moveTo>
                <a:cubicBezTo>
                  <a:pt x="763005" y="1626424"/>
                  <a:pt x="730771" y="1658659"/>
                  <a:pt x="730771" y="1698423"/>
                </a:cubicBezTo>
                <a:lnTo>
                  <a:pt x="730771" y="1806453"/>
                </a:lnTo>
                <a:cubicBezTo>
                  <a:pt x="730771" y="1846217"/>
                  <a:pt x="763005" y="1878452"/>
                  <a:pt x="802769" y="1878452"/>
                </a:cubicBezTo>
                <a:lnTo>
                  <a:pt x="2125430" y="1878452"/>
                </a:lnTo>
                <a:cubicBezTo>
                  <a:pt x="2165194" y="1878452"/>
                  <a:pt x="2197429" y="1846217"/>
                  <a:pt x="2197429" y="1806453"/>
                </a:cubicBezTo>
                <a:lnTo>
                  <a:pt x="2197429" y="1698423"/>
                </a:lnTo>
                <a:cubicBezTo>
                  <a:pt x="2197429" y="1658659"/>
                  <a:pt x="2165194" y="1626424"/>
                  <a:pt x="2125430" y="1626424"/>
                </a:cubicBezTo>
                <a:close/>
                <a:moveTo>
                  <a:pt x="882539" y="0"/>
                </a:moveTo>
                <a:lnTo>
                  <a:pt x="947162" y="0"/>
                </a:lnTo>
                <a:lnTo>
                  <a:pt x="949342" y="330"/>
                </a:lnTo>
                <a:cubicBezTo>
                  <a:pt x="972965" y="7677"/>
                  <a:pt x="992107" y="25193"/>
                  <a:pt x="1001651" y="47757"/>
                </a:cubicBezTo>
                <a:lnTo>
                  <a:pt x="1002925" y="54065"/>
                </a:lnTo>
                <a:lnTo>
                  <a:pt x="1007816" y="61320"/>
                </a:lnTo>
                <a:cubicBezTo>
                  <a:pt x="1013316" y="74325"/>
                  <a:pt x="1016358" y="88623"/>
                  <a:pt x="1016358" y="103631"/>
                </a:cubicBezTo>
                <a:lnTo>
                  <a:pt x="1009999" y="135127"/>
                </a:lnTo>
                <a:lnTo>
                  <a:pt x="1010800" y="136549"/>
                </a:lnTo>
                <a:lnTo>
                  <a:pt x="994833" y="242161"/>
                </a:lnTo>
                <a:cubicBezTo>
                  <a:pt x="994833" y="641535"/>
                  <a:pt x="1318590" y="965292"/>
                  <a:pt x="1717964" y="965292"/>
                </a:cubicBezTo>
                <a:cubicBezTo>
                  <a:pt x="2117338" y="965292"/>
                  <a:pt x="2441095" y="641535"/>
                  <a:pt x="2441095" y="242161"/>
                </a:cubicBezTo>
                <a:lnTo>
                  <a:pt x="2427548" y="152553"/>
                </a:lnTo>
                <a:lnTo>
                  <a:pt x="2423092" y="145943"/>
                </a:lnTo>
                <a:cubicBezTo>
                  <a:pt x="2417591" y="132938"/>
                  <a:pt x="2414549" y="118640"/>
                  <a:pt x="2414549" y="103631"/>
                </a:cubicBezTo>
                <a:cubicBezTo>
                  <a:pt x="2414549" y="73614"/>
                  <a:pt x="2426716" y="46439"/>
                  <a:pt x="2446388" y="26767"/>
                </a:cubicBezTo>
                <a:lnTo>
                  <a:pt x="2449980" y="24346"/>
                </a:lnTo>
                <a:lnTo>
                  <a:pt x="2452160" y="21112"/>
                </a:lnTo>
                <a:cubicBezTo>
                  <a:pt x="2459745" y="13528"/>
                  <a:pt x="2468776" y="7390"/>
                  <a:pt x="2478804" y="3148"/>
                </a:cubicBezTo>
                <a:lnTo>
                  <a:pt x="2494397" y="0"/>
                </a:lnTo>
                <a:lnTo>
                  <a:pt x="2548369" y="0"/>
                </a:lnTo>
                <a:lnTo>
                  <a:pt x="2550588" y="448"/>
                </a:lnTo>
                <a:lnTo>
                  <a:pt x="2807663" y="448"/>
                </a:lnTo>
                <a:lnTo>
                  <a:pt x="2809882" y="0"/>
                </a:lnTo>
                <a:lnTo>
                  <a:pt x="2875841" y="0"/>
                </a:lnTo>
                <a:lnTo>
                  <a:pt x="2878021" y="330"/>
                </a:lnTo>
                <a:cubicBezTo>
                  <a:pt x="2901644" y="7677"/>
                  <a:pt x="2920786" y="25193"/>
                  <a:pt x="2930330" y="47757"/>
                </a:cubicBezTo>
                <a:lnTo>
                  <a:pt x="2932175" y="56894"/>
                </a:lnTo>
                <a:lnTo>
                  <a:pt x="2935159" y="61320"/>
                </a:lnTo>
                <a:cubicBezTo>
                  <a:pt x="2940660" y="74325"/>
                  <a:pt x="2943701" y="88623"/>
                  <a:pt x="2943701" y="103631"/>
                </a:cubicBezTo>
                <a:cubicBezTo>
                  <a:pt x="2943701" y="118640"/>
                  <a:pt x="2940660" y="132938"/>
                  <a:pt x="2935159" y="145943"/>
                </a:cubicBezTo>
                <a:lnTo>
                  <a:pt x="2931925" y="150739"/>
                </a:lnTo>
                <a:lnTo>
                  <a:pt x="2918103" y="242161"/>
                </a:lnTo>
                <a:cubicBezTo>
                  <a:pt x="2918103" y="641535"/>
                  <a:pt x="3241860" y="965292"/>
                  <a:pt x="3641234" y="965292"/>
                </a:cubicBezTo>
                <a:cubicBezTo>
                  <a:pt x="4040608" y="965292"/>
                  <a:pt x="4364365" y="641535"/>
                  <a:pt x="4364365" y="242161"/>
                </a:cubicBezTo>
                <a:lnTo>
                  <a:pt x="4350970" y="153560"/>
                </a:lnTo>
                <a:lnTo>
                  <a:pt x="4345834" y="145943"/>
                </a:lnTo>
                <a:cubicBezTo>
                  <a:pt x="4340334" y="132938"/>
                  <a:pt x="4337292" y="118640"/>
                  <a:pt x="4337292" y="103631"/>
                </a:cubicBezTo>
                <a:cubicBezTo>
                  <a:pt x="4337292" y="73614"/>
                  <a:pt x="4349459" y="46439"/>
                  <a:pt x="4369130" y="26767"/>
                </a:cubicBezTo>
                <a:lnTo>
                  <a:pt x="4371657" y="25064"/>
                </a:lnTo>
                <a:lnTo>
                  <a:pt x="4374321" y="21112"/>
                </a:lnTo>
                <a:cubicBezTo>
                  <a:pt x="4381906" y="13528"/>
                  <a:pt x="4390937" y="7390"/>
                  <a:pt x="4400966" y="3148"/>
                </a:cubicBezTo>
                <a:lnTo>
                  <a:pt x="4416559" y="0"/>
                </a:lnTo>
                <a:lnTo>
                  <a:pt x="4471111" y="0"/>
                </a:lnTo>
                <a:lnTo>
                  <a:pt x="4473330" y="448"/>
                </a:lnTo>
                <a:lnTo>
                  <a:pt x="4722431" y="448"/>
                </a:lnTo>
                <a:lnTo>
                  <a:pt x="4724650" y="0"/>
                </a:lnTo>
                <a:lnTo>
                  <a:pt x="4792290" y="0"/>
                </a:lnTo>
                <a:lnTo>
                  <a:pt x="4807884" y="3148"/>
                </a:lnTo>
                <a:cubicBezTo>
                  <a:pt x="4837969" y="15873"/>
                  <a:pt x="4859079" y="45664"/>
                  <a:pt x="4859079" y="80384"/>
                </a:cubicBezTo>
                <a:lnTo>
                  <a:pt x="4856428" y="93519"/>
                </a:lnTo>
                <a:lnTo>
                  <a:pt x="4858469" y="103631"/>
                </a:lnTo>
                <a:lnTo>
                  <a:pt x="4853922" y="126153"/>
                </a:lnTo>
                <a:lnTo>
                  <a:pt x="4857856" y="133141"/>
                </a:lnTo>
                <a:lnTo>
                  <a:pt x="4841373" y="242161"/>
                </a:lnTo>
                <a:cubicBezTo>
                  <a:pt x="4841373" y="641535"/>
                  <a:pt x="5165130" y="965292"/>
                  <a:pt x="5564504" y="965292"/>
                </a:cubicBezTo>
                <a:cubicBezTo>
                  <a:pt x="5963878" y="965292"/>
                  <a:pt x="6287635" y="641535"/>
                  <a:pt x="6287635" y="242161"/>
                </a:cubicBezTo>
                <a:lnTo>
                  <a:pt x="6270855" y="131166"/>
                </a:lnTo>
                <a:lnTo>
                  <a:pt x="6272653" y="127973"/>
                </a:lnTo>
                <a:lnTo>
                  <a:pt x="6267738" y="103631"/>
                </a:lnTo>
                <a:cubicBezTo>
                  <a:pt x="6267738" y="88623"/>
                  <a:pt x="6270780" y="74325"/>
                  <a:pt x="6276281" y="61320"/>
                </a:cubicBezTo>
                <a:lnTo>
                  <a:pt x="6281023" y="54285"/>
                </a:lnTo>
                <a:lnTo>
                  <a:pt x="6282342" y="47757"/>
                </a:lnTo>
                <a:cubicBezTo>
                  <a:pt x="6291886" y="25193"/>
                  <a:pt x="6311029" y="7677"/>
                  <a:pt x="6334651" y="330"/>
                </a:cubicBezTo>
                <a:lnTo>
                  <a:pt x="6336831" y="0"/>
                </a:lnTo>
                <a:lnTo>
                  <a:pt x="6401558" y="0"/>
                </a:lnTo>
                <a:lnTo>
                  <a:pt x="6403777" y="448"/>
                </a:lnTo>
                <a:lnTo>
                  <a:pt x="6652877" y="448"/>
                </a:lnTo>
                <a:lnTo>
                  <a:pt x="6655096" y="0"/>
                </a:lnTo>
                <a:lnTo>
                  <a:pt x="6719754" y="0"/>
                </a:lnTo>
                <a:lnTo>
                  <a:pt x="6721934" y="330"/>
                </a:lnTo>
                <a:cubicBezTo>
                  <a:pt x="6745557" y="7677"/>
                  <a:pt x="6764700" y="25193"/>
                  <a:pt x="6774243" y="47757"/>
                </a:cubicBezTo>
                <a:lnTo>
                  <a:pt x="6775532" y="54139"/>
                </a:lnTo>
                <a:lnTo>
                  <a:pt x="6780373" y="61320"/>
                </a:lnTo>
                <a:cubicBezTo>
                  <a:pt x="6785873" y="74325"/>
                  <a:pt x="6788915" y="88623"/>
                  <a:pt x="6788915" y="103631"/>
                </a:cubicBezTo>
                <a:cubicBezTo>
                  <a:pt x="6788915" y="118640"/>
                  <a:pt x="6785873" y="132938"/>
                  <a:pt x="6780373" y="145943"/>
                </a:cubicBezTo>
                <a:lnTo>
                  <a:pt x="6778849" y="148203"/>
                </a:lnTo>
                <a:lnTo>
                  <a:pt x="6764643" y="242161"/>
                </a:lnTo>
                <a:cubicBezTo>
                  <a:pt x="6764643" y="641535"/>
                  <a:pt x="7088400" y="965292"/>
                  <a:pt x="7487774" y="965292"/>
                </a:cubicBezTo>
                <a:cubicBezTo>
                  <a:pt x="7887148" y="965292"/>
                  <a:pt x="8210905" y="641535"/>
                  <a:pt x="8210905" y="242161"/>
                </a:cubicBezTo>
                <a:lnTo>
                  <a:pt x="8194867" y="136078"/>
                </a:lnTo>
                <a:lnTo>
                  <a:pt x="8198190" y="130176"/>
                </a:lnTo>
                <a:lnTo>
                  <a:pt x="8192831" y="103631"/>
                </a:lnTo>
                <a:lnTo>
                  <a:pt x="8196130" y="87290"/>
                </a:lnTo>
                <a:lnTo>
                  <a:pt x="8194736" y="80384"/>
                </a:lnTo>
                <a:cubicBezTo>
                  <a:pt x="8194736" y="45664"/>
                  <a:pt x="8215846" y="15873"/>
                  <a:pt x="8245932" y="3148"/>
                </a:cubicBezTo>
                <a:lnTo>
                  <a:pt x="8261525" y="0"/>
                </a:lnTo>
                <a:lnTo>
                  <a:pt x="8326651" y="0"/>
                </a:lnTo>
                <a:lnTo>
                  <a:pt x="8328870" y="448"/>
                </a:lnTo>
                <a:lnTo>
                  <a:pt x="9156867" y="448"/>
                </a:lnTo>
                <a:lnTo>
                  <a:pt x="9156867" y="2476238"/>
                </a:lnTo>
                <a:lnTo>
                  <a:pt x="0" y="2476238"/>
                </a:lnTo>
                <a:lnTo>
                  <a:pt x="0" y="448"/>
                </a:lnTo>
                <a:lnTo>
                  <a:pt x="880320" y="4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>
                <a:solidFill>
                  <a:schemeClr val="tx1"/>
                </a:solidFill>
              </a:rPr>
              <a:pPr/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9" name="Rectangle 8">
            <a:extLst>
              <a:ext uri="{FF2B5EF4-FFF2-40B4-BE49-F238E27FC236}">
                <a16:creationId xmlns:a16="http://schemas.microsoft.com/office/drawing/2014/main" id="{01411855-3B9A-4787-B4E6-DD88B389C814}"/>
              </a:ext>
            </a:extLst>
          </p:cNvPr>
          <p:cNvSpPr/>
          <p:nvPr/>
        </p:nvSpPr>
        <p:spPr bwMode="gray">
          <a:xfrm>
            <a:off x="396000" y="4878000"/>
            <a:ext cx="3270126" cy="157342"/>
          </a:xfrm>
          <a:prstGeom prst="rect">
            <a:avLst/>
          </a:prstGeom>
        </p:spPr>
        <p:txBody>
          <a:bodyPr wrap="none" lIns="0" tIns="36000" rIns="0" bIns="36000" anchor="ctr">
            <a:spAutoFit/>
          </a:bodyPr>
          <a:lstStyle/>
          <a:p>
            <a:pPr>
              <a:spcBef>
                <a:spcPts val="100"/>
              </a:spcBef>
              <a:defRPr/>
            </a:pPr>
            <a:r>
              <a:rPr lang="en-US" sz="550" dirty="0">
                <a:cs typeface="Calibri"/>
              </a:rPr>
              <a:t>Copyright © 2023 The Nielsen Company (US), LLC. Confidential and proprietary. Do not distribute.</a:t>
            </a:r>
          </a:p>
        </p:txBody>
      </p:sp>
      <p:sp>
        <p:nvSpPr>
          <p:cNvPr id="101" name="Titel 2"/>
          <p:cNvSpPr>
            <a:spLocks noGrp="1"/>
          </p:cNvSpPr>
          <p:nvPr>
            <p:ph type="title"/>
          </p:nvPr>
        </p:nvSpPr>
        <p:spPr>
          <a:xfrm>
            <a:off x="2404" y="646060"/>
            <a:ext cx="9156866" cy="1054135"/>
          </a:xfrm>
        </p:spPr>
        <p:txBody>
          <a:bodyPr/>
          <a:lstStyle/>
          <a:p>
            <a:pPr algn="ctr">
              <a:lnSpc>
                <a:spcPct val="100000"/>
              </a:lnSpc>
              <a:tabLst>
                <a:tab pos="2960688" algn="l"/>
              </a:tabLst>
            </a:pPr>
            <a:br>
              <a:rPr lang="de-DE" sz="1050" b="0" dirty="0"/>
            </a:br>
            <a:r>
              <a:rPr lang="en-US" sz="2400" dirty="0"/>
              <a:t>Building your </a:t>
            </a:r>
            <a:r>
              <a:rPr lang="en-US" sz="2400" dirty="0">
                <a:solidFill>
                  <a:schemeClr val="accent2"/>
                </a:solidFill>
              </a:rPr>
              <a:t>own</a:t>
            </a:r>
            <a:r>
              <a:rPr lang="en-US" sz="2400" dirty="0"/>
              <a:t> </a:t>
            </a:r>
            <a:r>
              <a:rPr lang="en-US" sz="2400" dirty="0">
                <a:solidFill>
                  <a:schemeClr val="accent2"/>
                </a:solidFill>
              </a:rPr>
              <a:t>club brand </a:t>
            </a:r>
            <a:r>
              <a:rPr lang="en-US" sz="2400" dirty="0"/>
              <a:t>is the foundation for </a:t>
            </a:r>
            <a:br>
              <a:rPr lang="en-US" sz="2400" dirty="0"/>
            </a:br>
            <a:r>
              <a:rPr lang="en-US" sz="2400" dirty="0"/>
              <a:t>long-term </a:t>
            </a:r>
            <a:r>
              <a:rPr lang="en-US" sz="2400" dirty="0">
                <a:solidFill>
                  <a:schemeClr val="accent2"/>
                </a:solidFill>
              </a:rPr>
              <a:t>commercial success</a:t>
            </a:r>
            <a:r>
              <a:rPr lang="en-US" sz="2400" dirty="0"/>
              <a:t>!</a:t>
            </a:r>
            <a:br>
              <a:rPr lang="en-US" sz="2400" dirty="0"/>
            </a:br>
            <a:endParaRPr lang="de-DE" sz="1000" b="0" dirty="0"/>
          </a:p>
        </p:txBody>
      </p:sp>
      <p:pic>
        <p:nvPicPr>
          <p:cNvPr id="93" name="Google Shape;117;p20">
            <a:extLst>
              <a:ext uri="{FF2B5EF4-FFF2-40B4-BE49-F238E27FC236}">
                <a16:creationId xmlns:a16="http://schemas.microsoft.com/office/drawing/2014/main" id="{31DD3062-ED99-4CE3-98EF-A44140B841D5}"/>
              </a:ext>
            </a:extLst>
          </p:cNvPr>
          <p:cNvPicPr preferRelativeResize="0"/>
          <p:nvPr/>
        </p:nvPicPr>
        <p:blipFill>
          <a:blip r:embed="rId8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110775" y="4828450"/>
            <a:ext cx="786775" cy="1148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858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58" grpId="0"/>
      <p:bldP spid="59" grpId="0"/>
      <p:bldP spid="6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3353;p39">
            <a:extLst>
              <a:ext uri="{FF2B5EF4-FFF2-40B4-BE49-F238E27FC236}">
                <a16:creationId xmlns:a16="http://schemas.microsoft.com/office/drawing/2014/main" id="{6404E383-9E75-D10E-60FC-99C85155021E}"/>
              </a:ext>
            </a:extLst>
          </p:cNvPr>
          <p:cNvSpPr/>
          <p:nvPr/>
        </p:nvSpPr>
        <p:spPr>
          <a:xfrm>
            <a:off x="438939" y="3435846"/>
            <a:ext cx="4896791" cy="1187553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accent2"/>
                </a:solidFill>
                <a:latin typeface="Inter"/>
                <a:ea typeface="Inter"/>
                <a:cs typeface="Inter"/>
                <a:sym typeface="Inter"/>
              </a:rPr>
              <a:t>Key takeaways for hockey clubs</a:t>
            </a:r>
          </a:p>
          <a:p>
            <a:pPr marL="285750" lvl="1" indent="-285750">
              <a:buFont typeface="Symbol" panose="05050102010706020507" pitchFamily="18" charset="2"/>
              <a:buChar char="-"/>
            </a:pPr>
            <a:r>
              <a:rPr lang="de-DE" sz="1300" dirty="0">
                <a:sym typeface="Wingdings" panose="05000000000000000000" pitchFamily="2" charset="2"/>
              </a:rPr>
              <a:t>Viewers‘ attention is </a:t>
            </a:r>
            <a:r>
              <a:rPr lang="de-DE" sz="1300" b="1" dirty="0">
                <a:sym typeface="Wingdings" panose="05000000000000000000" pitchFamily="2" charset="2"/>
              </a:rPr>
              <a:t>scarce and valuable</a:t>
            </a:r>
          </a:p>
          <a:p>
            <a:pPr marL="285750" lvl="1" indent="-285750">
              <a:buFont typeface="Symbol" panose="05050102010706020507" pitchFamily="18" charset="2"/>
              <a:buChar char="-"/>
            </a:pPr>
            <a:r>
              <a:rPr lang="en-US" sz="1300" b="1" dirty="0"/>
              <a:t>Less branding </a:t>
            </a:r>
            <a:r>
              <a:rPr lang="en-US" sz="1300" dirty="0"/>
              <a:t>can be more effective</a:t>
            </a:r>
          </a:p>
          <a:p>
            <a:pPr marL="285750" lvl="1" indent="-285750">
              <a:buFont typeface="Symbol" panose="05050102010706020507" pitchFamily="18" charset="2"/>
              <a:buChar char="-"/>
            </a:pPr>
            <a:r>
              <a:rPr lang="en-US" sz="1300" dirty="0"/>
              <a:t>Clubs need </a:t>
            </a:r>
            <a:r>
              <a:rPr lang="en-US" sz="1300" b="1" dirty="0"/>
              <a:t>revenue streams </a:t>
            </a:r>
            <a:r>
              <a:rPr lang="en-US" sz="1300" dirty="0"/>
              <a:t>beyond jerseys and on-ic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371C8B-D92A-0477-ED6D-FFDEA2F38EEA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801689" y="0"/>
            <a:ext cx="3347865" cy="5143500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C98811C-3F19-69BB-1325-17991C2D8A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e science and business of visual attention</a:t>
            </a:r>
            <a:endParaRPr lang="en-US" sz="1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C35701-80A3-4099-0407-C45CD1D86FF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BEE92D-A88E-4780-F26D-60941AAB1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. Avoid cluttered sponsorship environments</a:t>
            </a:r>
          </a:p>
        </p:txBody>
      </p:sp>
      <p:pic>
        <p:nvPicPr>
          <p:cNvPr id="11" name="Picture Placeholder 10" descr="A hockey game in progress&#10;&#10;Description automatically generated with medium confidence">
            <a:extLst>
              <a:ext uri="{FF2B5EF4-FFF2-40B4-BE49-F238E27FC236}">
                <a16:creationId xmlns:a16="http://schemas.microsoft.com/office/drawing/2014/main" id="{32727DCD-6400-0901-8210-22D702071AF4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5"/>
          <a:srcRect l="14122" r="14122"/>
          <a:stretch/>
        </p:blipFill>
        <p:spPr>
          <a:xfrm>
            <a:off x="7187009" y="1283651"/>
            <a:ext cx="1706562" cy="1579563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Placeholder 8" descr="Text&#10;&#10;Description automatically generated">
            <a:extLst>
              <a:ext uri="{FF2B5EF4-FFF2-40B4-BE49-F238E27FC236}">
                <a16:creationId xmlns:a16="http://schemas.microsoft.com/office/drawing/2014/main" id="{EE5E6988-B795-1F5A-A352-5BC4DD38B942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6"/>
          <a:srcRect t="3721" b="3721"/>
          <a:stretch/>
        </p:blipFill>
        <p:spPr>
          <a:xfrm>
            <a:off x="5316321" y="1283651"/>
            <a:ext cx="1706562" cy="157956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Placeholder 10" descr="A picture containing person, outdoor, racing, building&#10;&#10;Description automatically generated">
            <a:extLst>
              <a:ext uri="{FF2B5EF4-FFF2-40B4-BE49-F238E27FC236}">
                <a16:creationId xmlns:a16="http://schemas.microsoft.com/office/drawing/2014/main" id="{6E453A3C-52F4-7D8D-8A94-40259883643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7442"/>
          <a:stretch/>
        </p:blipFill>
        <p:spPr>
          <a:xfrm>
            <a:off x="7187011" y="3017201"/>
            <a:ext cx="1706562" cy="157956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Placeholder 6" descr="An ice rink with logos on it&#10;&#10;Description automatically generated">
            <a:extLst>
              <a:ext uri="{FF2B5EF4-FFF2-40B4-BE49-F238E27FC236}">
                <a16:creationId xmlns:a16="http://schemas.microsoft.com/office/drawing/2014/main" id="{3886F788-728A-95B5-5013-644E3CE8B371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8"/>
          <a:srcRect l="13987" r="13987"/>
          <a:stretch/>
        </p:blipFill>
        <p:spPr>
          <a:xfrm>
            <a:off x="5311043" y="3017201"/>
            <a:ext cx="1706562" cy="157956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F47A61-6046-051C-7991-921E2A7137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336833"/>
            <a:ext cx="685896" cy="685896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752E85-FEA9-083C-E0FB-98C97D3336B5}"/>
              </a:ext>
            </a:extLst>
          </p:cNvPr>
          <p:cNvSpPr txBox="1">
            <a:spLocks/>
          </p:cNvSpPr>
          <p:nvPr/>
        </p:nvSpPr>
        <p:spPr>
          <a:xfrm>
            <a:off x="395288" y="1296000"/>
            <a:ext cx="4896791" cy="213984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2075" indent="-92075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SzPct val="100000"/>
              <a:buFont typeface="Arial Narrow" panose="020B0606020202030204" pitchFamily="34" charset="0"/>
              <a:buChar char="-"/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76213" indent="-84138" algn="l" defTabSz="914400" rtl="0" eaLnBrk="1" latinLnBrk="0" hangingPunct="1">
              <a:lnSpc>
                <a:spcPct val="102000"/>
              </a:lnSpc>
              <a:spcBef>
                <a:spcPts val="200"/>
              </a:spcBef>
              <a:buSzPct val="100000"/>
              <a:buFont typeface="Arial Narrow" panose="020B0606020202030204" pitchFamily="34" charset="0"/>
              <a:buChar char="-"/>
              <a:defRPr sz="9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68288" indent="-92075" algn="l" defTabSz="914400" rtl="0" eaLnBrk="1" latinLnBrk="0" hangingPunct="1">
              <a:lnSpc>
                <a:spcPct val="102000"/>
              </a:lnSpc>
              <a:spcBef>
                <a:spcPts val="0"/>
              </a:spcBef>
              <a:buFont typeface="Arial Narrow" panose="020B0606020202030204" pitchFamily="34" charset="0"/>
              <a:buChar char="-"/>
              <a:defRPr sz="800" b="0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buFont typeface="Calibri" panose="020F0502020204030204" pitchFamily="34" charset="0"/>
              <a:buChar char="-"/>
            </a:pPr>
            <a:r>
              <a:rPr lang="de-DE" sz="1400" dirty="0"/>
              <a:t>During 95 % of a sport broadcast viewers DO NOT look at sponsor signage </a:t>
            </a:r>
            <a:r>
              <a:rPr lang="de-DE" sz="800" dirty="0"/>
              <a:t>(Breuer &amp; Rumpf, 2012)</a:t>
            </a:r>
            <a:endParaRPr lang="de-DE" sz="1000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endParaRPr lang="en-US" sz="1400" kern="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lang="en-US" sz="14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Logo clutter further reduces attention to sponsor signage </a:t>
            </a:r>
            <a:r>
              <a:rPr kumimoji="0" lang="de-DE" sz="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(Breuer &amp; Rumpf, 2012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endParaRPr lang="de-DE" sz="1400" dirty="0">
              <a:solidFill>
                <a:srgbClr val="000000"/>
              </a:solidFill>
              <a:latin typeface="Inter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-"/>
              <a:tabLst/>
              <a:defRPr/>
            </a:pPr>
            <a:r>
              <a:rPr lang="de-DE" sz="1400" dirty="0">
                <a:solidFill>
                  <a:srgbClr val="000000"/>
                </a:solidFill>
                <a:latin typeface="Inter"/>
              </a:rPr>
              <a:t>Why should sponsor brands pay for ads that fail to attract attention?</a:t>
            </a: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7CD1F48-D092-34B8-F890-DC4CDE4ED1E8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765969"/>
            <a:ext cx="144264" cy="144085"/>
            <a:chOff x="530225" y="1979613"/>
            <a:chExt cx="1284288" cy="12827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20A3B56D-EAC6-56B7-2F44-70FB3F591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7E81FD1E-51C5-7D42-A79E-BFB8A5AA6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3D42197-6F40-0BC9-129F-75A1191C16C3}"/>
              </a:ext>
            </a:extLst>
          </p:cNvPr>
          <p:cNvGrpSpPr>
            <a:grpSpLocks noChangeAspect="1"/>
          </p:cNvGrpSpPr>
          <p:nvPr/>
        </p:nvGrpSpPr>
        <p:grpSpPr>
          <a:xfrm>
            <a:off x="508332" y="3940861"/>
            <a:ext cx="144264" cy="144085"/>
            <a:chOff x="530225" y="1979613"/>
            <a:chExt cx="1284288" cy="128270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272CDB68-B1F0-A92C-81C9-DBC7C755A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FCBFD9B-560E-E360-2241-B295AC661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8B9B8D9-673A-5D28-EA46-673F86574752}"/>
              </a:ext>
            </a:extLst>
          </p:cNvPr>
          <p:cNvGrpSpPr>
            <a:grpSpLocks noChangeAspect="1"/>
          </p:cNvGrpSpPr>
          <p:nvPr/>
        </p:nvGrpSpPr>
        <p:grpSpPr>
          <a:xfrm>
            <a:off x="508332" y="4131638"/>
            <a:ext cx="144264" cy="144085"/>
            <a:chOff x="530225" y="1979613"/>
            <a:chExt cx="1284288" cy="1282700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B3E16350-255C-F857-DD1C-6DF7FA7FA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499624AA-0F66-2DC1-28E7-E16732E04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9188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:a16="http://schemas.microsoft.com/office/drawing/2014/main" id="{1027636E-5E11-5A20-4165-B224B8FE2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0" r="48194" b="12070"/>
          <a:stretch/>
        </p:blipFill>
        <p:spPr bwMode="auto">
          <a:xfrm>
            <a:off x="3874901" y="0"/>
            <a:ext cx="526909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0">
            <a:extLst>
              <a:ext uri="{FF2B5EF4-FFF2-40B4-BE49-F238E27FC236}">
                <a16:creationId xmlns:a16="http://schemas.microsoft.com/office/drawing/2014/main" id="{21724CA6-E4CB-F899-36E2-704E45D6A223}"/>
              </a:ext>
            </a:extLst>
          </p:cNvPr>
          <p:cNvSpPr/>
          <p:nvPr/>
        </p:nvSpPr>
        <p:spPr bwMode="auto">
          <a:xfrm>
            <a:off x="3707904" y="0"/>
            <a:ext cx="5436096" cy="5143500"/>
          </a:xfrm>
          <a:prstGeom prst="rect">
            <a:avLst/>
          </a:prstGeom>
          <a:gradFill flip="none" rotWithShape="1">
            <a:gsLst>
              <a:gs pos="23000">
                <a:schemeClr val="tx2"/>
              </a:gs>
              <a:gs pos="100000">
                <a:schemeClr val="tx2">
                  <a:alpha val="58000"/>
                </a:schemeClr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088C0-7B71-AEEE-9A4E-695440D11E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6000" y="738000"/>
            <a:ext cx="8351045" cy="184666"/>
          </a:xfrm>
        </p:spPr>
        <p:txBody>
          <a:bodyPr/>
          <a:lstStyle/>
          <a:p>
            <a:r>
              <a:rPr lang="en-US" sz="1200" dirty="0"/>
              <a:t>Technological advances in sponsor sign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C35701-80A3-4099-0407-C45CD1D86FF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BEE92D-A88E-4780-F26D-60941AAB1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/>
              <a:t>II. Exploit opportunities arising from technological advan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143DDB-6A82-2F65-18B7-F248054EF9F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281" t="5997" r="14140"/>
          <a:stretch/>
        </p:blipFill>
        <p:spPr>
          <a:xfrm>
            <a:off x="6099724" y="1670847"/>
            <a:ext cx="2645020" cy="1649412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253888-020E-D191-A114-8EE05B6AF1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9" t="9562" r="2768" b="7558"/>
          <a:stretch/>
        </p:blipFill>
        <p:spPr>
          <a:xfrm>
            <a:off x="398143" y="1670783"/>
            <a:ext cx="2777335" cy="1649821"/>
          </a:xfrm>
          <a:prstGeom prst="rect">
            <a:avLst/>
          </a:prstGeom>
          <a:ln w="9525" cap="sq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B72517-9DB6-4564-2F26-053821FE5CF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715" r="17146" b="9386"/>
          <a:stretch/>
        </p:blipFill>
        <p:spPr>
          <a:xfrm>
            <a:off x="3323504" y="1670847"/>
            <a:ext cx="2645020" cy="1649412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DDFCB39-B352-2D26-1062-3D57D62010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565" y="259998"/>
            <a:ext cx="839566" cy="8395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7B546BF-54CD-0A4F-ACCB-0B19593BC2E2}"/>
              </a:ext>
            </a:extLst>
          </p:cNvPr>
          <p:cNvSpPr txBox="1"/>
          <p:nvPr/>
        </p:nvSpPr>
        <p:spPr>
          <a:xfrm>
            <a:off x="1115616" y="3726374"/>
            <a:ext cx="697994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100" dirty="0">
                <a:solidFill>
                  <a:schemeClr val="accent2"/>
                </a:solidFill>
                <a:cs typeface="Times New Roman" panose="02020603050405020304" pitchFamily="18" charset="0"/>
              </a:rPr>
              <a:t>Dynamic signage </a:t>
            </a:r>
            <a:r>
              <a:rPr lang="de-DE" sz="1600" b="1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provides more flexibility and greater </a:t>
            </a:r>
            <a:r>
              <a:rPr lang="de-DE" sz="1600" b="1" dirty="0">
                <a:solidFill>
                  <a:schemeClr val="bg1"/>
                </a:solidFill>
                <a:sym typeface="Wingdings" panose="05000000000000000000" pitchFamily="2" charset="2"/>
              </a:rPr>
              <a:t>quality of signage </a:t>
            </a:r>
            <a:r>
              <a:rPr lang="de-DE" sz="1600" b="1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than static boards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C52C6DB2-E82B-21D8-00FC-60BB123EE0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3809" y="3699413"/>
            <a:ext cx="583533" cy="58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86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C74CE03-3E46-C941-A0CE-5B3821D197B7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801689" y="0"/>
            <a:ext cx="3347865" cy="5143500"/>
          </a:xfrm>
          <a:prstGeom prst="rect">
            <a:avLst/>
          </a:prstGeom>
        </p:spPr>
      </p:pic>
      <p:sp>
        <p:nvSpPr>
          <p:cNvPr id="23559" name="Text Placeholder 1">
            <a:extLst>
              <a:ext uri="{FF2B5EF4-FFF2-40B4-BE49-F238E27FC236}">
                <a16:creationId xmlns:a16="http://schemas.microsoft.com/office/drawing/2014/main" id="{DAD5E8A6-3900-B0A5-0584-2D9436BC55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tatic boards vs dynamic sponsor sign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7702E3-DDF1-60FE-6D4A-186A7210026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70B9943A-8FFE-4C60-9517-AF2D14F6B363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17A81E-29BA-23BD-6B28-05E9C08B8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b">
            <a:normAutofit/>
          </a:bodyPr>
          <a:lstStyle/>
          <a:p>
            <a:r>
              <a:rPr lang="en-US" sz="2000" b="1" dirty="0"/>
              <a:t>II. Exploit opportunities arising from technological advances</a:t>
            </a:r>
            <a:endParaRPr lang="en-US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ADDABD1-79BD-6735-29BC-0797C0E5FB7A}"/>
              </a:ext>
            </a:extLst>
          </p:cNvPr>
          <p:cNvSpPr txBox="1">
            <a:spLocks/>
          </p:cNvSpPr>
          <p:nvPr/>
        </p:nvSpPr>
        <p:spPr>
          <a:xfrm>
            <a:off x="395288" y="1296001"/>
            <a:ext cx="5616872" cy="19958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92075" indent="-92075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SzPct val="100000"/>
              <a:buFont typeface="Arial Narrow" panose="020B0606020202030204" pitchFamily="34" charset="0"/>
              <a:buChar char="-"/>
              <a:defRPr sz="9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176213" indent="-84138" algn="l" defTabSz="914400" rtl="0" eaLnBrk="1" latinLnBrk="0" hangingPunct="1">
              <a:lnSpc>
                <a:spcPct val="102000"/>
              </a:lnSpc>
              <a:spcBef>
                <a:spcPts val="200"/>
              </a:spcBef>
              <a:buSzPct val="100000"/>
              <a:buFont typeface="Arial Narrow" panose="020B0606020202030204" pitchFamily="34" charset="0"/>
              <a:buChar char="-"/>
              <a:defRPr sz="9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268288" indent="-92075" algn="l" defTabSz="914400" rtl="0" eaLnBrk="1" latinLnBrk="0" hangingPunct="1">
              <a:lnSpc>
                <a:spcPct val="102000"/>
              </a:lnSpc>
              <a:spcBef>
                <a:spcPts val="0"/>
              </a:spcBef>
              <a:buFont typeface="Arial Narrow" panose="020B0606020202030204" pitchFamily="34" charset="0"/>
              <a:buChar char="-"/>
              <a:defRPr sz="800" b="0" kern="1200" cap="none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kern="1200" spc="-2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400" dirty="0">
                <a:latin typeface="+mj-lt"/>
                <a:sym typeface="Wingdings" panose="05000000000000000000" pitchFamily="2" charset="2"/>
              </a:rPr>
              <a:t>Brighter colors and clearer signage increase viewer attention </a:t>
            </a:r>
            <a:r>
              <a:rPr lang="de-DE" sz="800" dirty="0">
                <a:latin typeface="+mj-lt"/>
                <a:sym typeface="Wingdings" panose="05000000000000000000" pitchFamily="2" charset="2"/>
              </a:rPr>
              <a:t>(Breuer &amp; Rumpf, 2015)</a:t>
            </a:r>
          </a:p>
          <a:p>
            <a:pPr marL="342900" lvl="1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800" dirty="0">
              <a:latin typeface="+mj-lt"/>
            </a:endParaRPr>
          </a:p>
          <a:p>
            <a:pPr marL="342900" lvl="1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400" dirty="0">
                <a:latin typeface="+mj-lt"/>
              </a:rPr>
              <a:t>Animated signage is very effective in attracting viewers‘ attention </a:t>
            </a:r>
            <a:r>
              <a:rPr lang="de-DE" sz="800" dirty="0">
                <a:latin typeface="+mj-lt"/>
                <a:sym typeface="Wingdings" panose="05000000000000000000" pitchFamily="2" charset="2"/>
              </a:rPr>
              <a:t>(Breuer &amp; Rumpf, 2015)</a:t>
            </a:r>
          </a:p>
          <a:p>
            <a:pPr marL="342900" lvl="1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800" b="1" dirty="0">
              <a:latin typeface="+mj-lt"/>
            </a:endParaRPr>
          </a:p>
          <a:p>
            <a:pPr marL="342900" lvl="1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400" dirty="0">
                <a:latin typeface="+mj-lt"/>
              </a:rPr>
              <a:t>BUT: animated signage also increases confusion and can cause reactance </a:t>
            </a:r>
            <a:r>
              <a:rPr lang="de-DE" sz="800" dirty="0">
                <a:latin typeface="+mj-lt"/>
              </a:rPr>
              <a:t>(Breuer &amp; Rumpf, 2015; Rumpf &amp; Otto)</a:t>
            </a:r>
          </a:p>
          <a:p>
            <a:endParaRPr lang="de-DE" dirty="0"/>
          </a:p>
        </p:txBody>
      </p:sp>
      <p:pic>
        <p:nvPicPr>
          <p:cNvPr id="23554" name="Picture 2" descr="VIDEO: Thiago Alcântara pass to Santa Claus on advertising hoardings">
            <a:extLst>
              <a:ext uri="{FF2B5EF4-FFF2-40B4-BE49-F238E27FC236}">
                <a16:creationId xmlns:a16="http://schemas.microsoft.com/office/drawing/2014/main" id="{AE615EC2-1020-608A-CA60-4FA9CA2578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94" b="4790"/>
          <a:stretch/>
        </p:blipFill>
        <p:spPr bwMode="auto">
          <a:xfrm>
            <a:off x="6459250" y="3563815"/>
            <a:ext cx="2475882" cy="1099277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25CC737F-E1C9-CBD8-078B-B8BAD3744A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01"/>
          <a:stretch/>
        </p:blipFill>
        <p:spPr bwMode="auto">
          <a:xfrm>
            <a:off x="6459250" y="2429908"/>
            <a:ext cx="2475881" cy="10737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C9F6382-BE9B-C26C-93D6-C7B6B472716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565" y="259998"/>
            <a:ext cx="839566" cy="839566"/>
          </a:xfrm>
          <a:prstGeom prst="rect">
            <a:avLst/>
          </a:prstGeom>
        </p:spPr>
      </p:pic>
      <p:sp>
        <p:nvSpPr>
          <p:cNvPr id="11" name="Google Shape;3353;p39">
            <a:extLst>
              <a:ext uri="{FF2B5EF4-FFF2-40B4-BE49-F238E27FC236}">
                <a16:creationId xmlns:a16="http://schemas.microsoft.com/office/drawing/2014/main" id="{F8AB4095-76DA-9EFD-09CD-33E5937E065C}"/>
              </a:ext>
            </a:extLst>
          </p:cNvPr>
          <p:cNvSpPr/>
          <p:nvPr/>
        </p:nvSpPr>
        <p:spPr>
          <a:xfrm>
            <a:off x="438940" y="3291830"/>
            <a:ext cx="5868000" cy="1331569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accent2"/>
                </a:solidFill>
                <a:latin typeface="Inter"/>
                <a:ea typeface="Inter"/>
                <a:cs typeface="Inter"/>
                <a:sym typeface="Inter"/>
              </a:rPr>
              <a:t>Key takeaways for hockey clubs</a:t>
            </a:r>
          </a:p>
          <a:p>
            <a:pPr marL="285750" lvl="1" indent="-285750">
              <a:buFont typeface="Symbol" panose="05050102010706020507" pitchFamily="18" charset="2"/>
              <a:buChar char="-"/>
            </a:pPr>
            <a:r>
              <a:rPr lang="de-DE" sz="1300" dirty="0">
                <a:sym typeface="Wingdings" panose="05000000000000000000" pitchFamily="2" charset="2"/>
              </a:rPr>
              <a:t>Dynamic signage can increase </a:t>
            </a:r>
            <a:r>
              <a:rPr lang="de-DE" sz="1300" b="1" dirty="0">
                <a:sym typeface="Wingdings" panose="05000000000000000000" pitchFamily="2" charset="2"/>
              </a:rPr>
              <a:t>quality and value </a:t>
            </a:r>
            <a:r>
              <a:rPr lang="de-DE" sz="1300" dirty="0">
                <a:sym typeface="Wingdings" panose="05000000000000000000" pitchFamily="2" charset="2"/>
              </a:rPr>
              <a:t>of sponsor signage</a:t>
            </a:r>
          </a:p>
          <a:p>
            <a:pPr marL="285750" lvl="1" indent="-285750">
              <a:buFont typeface="Symbol" panose="05050102010706020507" pitchFamily="18" charset="2"/>
              <a:buChar char="-"/>
            </a:pPr>
            <a:r>
              <a:rPr lang="en-US" sz="1300" dirty="0"/>
              <a:t>Animation should be </a:t>
            </a:r>
            <a:r>
              <a:rPr lang="en-US" sz="1300" b="1" dirty="0"/>
              <a:t>used</a:t>
            </a:r>
            <a:r>
              <a:rPr lang="en-US" sz="1300" dirty="0"/>
              <a:t> </a:t>
            </a:r>
            <a:r>
              <a:rPr lang="en-US" sz="1300" b="1" dirty="0"/>
              <a:t>sparingly</a:t>
            </a:r>
            <a:r>
              <a:rPr lang="en-US" sz="1300" dirty="0"/>
              <a:t> – ideally only during breaks</a:t>
            </a:r>
          </a:p>
          <a:p>
            <a:pPr marL="285750" lvl="1" indent="-285750">
              <a:buFont typeface="Symbol" panose="05050102010706020507" pitchFamily="18" charset="2"/>
              <a:buChar char="-"/>
            </a:pPr>
            <a:r>
              <a:rPr lang="en-US" sz="1300" dirty="0"/>
              <a:t>Signage </a:t>
            </a:r>
            <a:r>
              <a:rPr lang="en-US" sz="1300" b="1" dirty="0"/>
              <a:t>must NOT distract </a:t>
            </a:r>
            <a:r>
              <a:rPr lang="en-US" sz="1300" dirty="0"/>
              <a:t>aggressively from the game itself</a:t>
            </a: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D64FD058-5C3D-9442-5DF5-8B90BDBC1C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10" b="16714"/>
          <a:stretch/>
        </p:blipFill>
        <p:spPr bwMode="auto">
          <a:xfrm>
            <a:off x="6459250" y="1268936"/>
            <a:ext cx="2479318" cy="110080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55C0C49-226B-0D3F-1706-5963470D9CF9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597006"/>
            <a:ext cx="144264" cy="144085"/>
            <a:chOff x="530225" y="1979613"/>
            <a:chExt cx="1284288" cy="12827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EF3ED657-D033-5B2E-7F08-704E48C583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3BF7CCC-7903-191B-F7ED-40B1F204F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7C3D512-EA3E-E3E1-992A-64CE670B5E55}"/>
              </a:ext>
            </a:extLst>
          </p:cNvPr>
          <p:cNvGrpSpPr>
            <a:grpSpLocks noChangeAspect="1"/>
          </p:cNvGrpSpPr>
          <p:nvPr/>
        </p:nvGrpSpPr>
        <p:grpSpPr>
          <a:xfrm>
            <a:off x="508332" y="3786647"/>
            <a:ext cx="144264" cy="144085"/>
            <a:chOff x="530225" y="1979613"/>
            <a:chExt cx="1284288" cy="1282700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F5F7038-9037-0622-8FFA-C453C23D1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F38E961-29D3-72C6-4C51-8BB1E8F95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22F698A-2BE9-2A18-788E-184D17B38803}"/>
              </a:ext>
            </a:extLst>
          </p:cNvPr>
          <p:cNvGrpSpPr>
            <a:grpSpLocks noChangeAspect="1"/>
          </p:cNvGrpSpPr>
          <p:nvPr/>
        </p:nvGrpSpPr>
        <p:grpSpPr>
          <a:xfrm>
            <a:off x="517476" y="3985954"/>
            <a:ext cx="144264" cy="144085"/>
            <a:chOff x="530225" y="1979613"/>
            <a:chExt cx="1284288" cy="1282700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7AC9274-EE9C-39C3-7C36-C95A86099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9B98F3DF-3A46-22F5-EC93-4F1C59BE1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613657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2437E71-20DB-4179-043D-E4E8CEDB53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801" b="11439"/>
          <a:stretch/>
        </p:blipFill>
        <p:spPr>
          <a:xfrm>
            <a:off x="1" y="1205875"/>
            <a:ext cx="9144000" cy="3417523"/>
          </a:xfrm>
          <a:prstGeom prst="rect">
            <a:avLst/>
          </a:prstGeom>
          <a:ln>
            <a:noFill/>
          </a:ln>
          <a:effectLst/>
        </p:spPr>
      </p:pic>
      <p:sp>
        <p:nvSpPr>
          <p:cNvPr id="13" name="Rectangle 38">
            <a:extLst>
              <a:ext uri="{FF2B5EF4-FFF2-40B4-BE49-F238E27FC236}">
                <a16:creationId xmlns:a16="http://schemas.microsoft.com/office/drawing/2014/main" id="{9B979775-0E89-73E1-C389-FEE7C04F5DA3}"/>
              </a:ext>
            </a:extLst>
          </p:cNvPr>
          <p:cNvSpPr/>
          <p:nvPr/>
        </p:nvSpPr>
        <p:spPr bwMode="auto">
          <a:xfrm>
            <a:off x="0" y="1181659"/>
            <a:ext cx="9144000" cy="3478323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10" name="Google Shape;3353;p39">
            <a:extLst>
              <a:ext uri="{FF2B5EF4-FFF2-40B4-BE49-F238E27FC236}">
                <a16:creationId xmlns:a16="http://schemas.microsoft.com/office/drawing/2014/main" id="{4721E907-9BE9-BDFD-5B60-EF19F1174B29}"/>
              </a:ext>
            </a:extLst>
          </p:cNvPr>
          <p:cNvSpPr/>
          <p:nvPr/>
        </p:nvSpPr>
        <p:spPr>
          <a:xfrm>
            <a:off x="438939" y="3291830"/>
            <a:ext cx="5868000" cy="1331569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accent2"/>
                </a:solidFill>
                <a:latin typeface="Inter"/>
                <a:ea typeface="Inter"/>
                <a:cs typeface="Inter"/>
                <a:sym typeface="Inter"/>
              </a:rPr>
              <a:t>Key takeaways for hockey clubs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Pricing and exposure timing should reflect </a:t>
            </a:r>
            <a:r>
              <a:rPr lang="en-US" sz="1300" b="1" dirty="0">
                <a:sym typeface="Wingdings" panose="05000000000000000000" pitchFamily="2" charset="2"/>
              </a:rPr>
              <a:t>anticipated attention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Premium pricing for exposure in </a:t>
            </a:r>
            <a:r>
              <a:rPr lang="en-US" sz="1300" b="1" dirty="0">
                <a:sym typeface="Wingdings" panose="05000000000000000000" pitchFamily="2" charset="2"/>
              </a:rPr>
              <a:t>attractive game situations</a:t>
            </a:r>
            <a:r>
              <a:rPr lang="en-US" sz="1300" dirty="0">
                <a:sym typeface="Wingdings" panose="05000000000000000000" pitchFamily="2" charset="2"/>
              </a:rPr>
              <a:t>, e.g., before faceoffs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Consider </a:t>
            </a:r>
            <a:r>
              <a:rPr lang="en-US" sz="1300" b="1" dirty="0">
                <a:sym typeface="Wingdings" panose="05000000000000000000" pitchFamily="2" charset="2"/>
              </a:rPr>
              <a:t>variable</a:t>
            </a:r>
            <a:r>
              <a:rPr lang="en-US" sz="1300" dirty="0">
                <a:sym typeface="Wingdings" panose="05000000000000000000" pitchFamily="2" charset="2"/>
              </a:rPr>
              <a:t> </a:t>
            </a:r>
            <a:r>
              <a:rPr lang="en-US" sz="1300" b="1" dirty="0">
                <a:sym typeface="Wingdings" panose="05000000000000000000" pitchFamily="2" charset="2"/>
              </a:rPr>
              <a:t>component </a:t>
            </a:r>
            <a:r>
              <a:rPr lang="en-US" sz="1300" dirty="0">
                <a:sym typeface="Wingdings" panose="05000000000000000000" pitchFamily="2" charset="2"/>
              </a:rPr>
              <a:t>in exposure pricing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endParaRPr lang="en-US" sz="1300" dirty="0">
              <a:sym typeface="Wingdings" panose="05000000000000000000" pitchFamily="2" charset="2"/>
            </a:endParaRPr>
          </a:p>
        </p:txBody>
      </p:sp>
      <p:sp>
        <p:nvSpPr>
          <p:cNvPr id="23559" name="Text Placeholder 1">
            <a:extLst>
              <a:ext uri="{FF2B5EF4-FFF2-40B4-BE49-F238E27FC236}">
                <a16:creationId xmlns:a16="http://schemas.microsoft.com/office/drawing/2014/main" id="{DAD5E8A6-3900-B0A5-0584-2D9436BC55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rtual advertising and message exposure timing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7702E3-DDF1-60FE-6D4A-186A7210026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fld id="{70B9943A-8FFE-4C60-9517-AF2D14F6B363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17A81E-29BA-23BD-6B28-05E9C08B8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 anchor="b">
            <a:normAutofit/>
          </a:bodyPr>
          <a:lstStyle/>
          <a:p>
            <a:r>
              <a:rPr lang="en-US" sz="2000" b="1" dirty="0"/>
              <a:t>II. Exploit opportunities arising from technological advances</a:t>
            </a:r>
            <a:endParaRPr lang="de-DE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ADDABD1-79BD-6735-29BC-0797C0E5FB7A}"/>
              </a:ext>
            </a:extLst>
          </p:cNvPr>
          <p:cNvSpPr txBox="1">
            <a:spLocks/>
          </p:cNvSpPr>
          <p:nvPr/>
        </p:nvSpPr>
        <p:spPr>
          <a:xfrm>
            <a:off x="395288" y="1296000"/>
            <a:ext cx="5184824" cy="33273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92075" indent="-92075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SzPct val="100000"/>
              <a:buFont typeface="Arial Narrow" panose="020B0606020202030204" pitchFamily="34" charset="0"/>
              <a:buChar char="-"/>
              <a:defRPr sz="9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176213" indent="-84138" algn="l" defTabSz="914400" rtl="0" eaLnBrk="1" latinLnBrk="0" hangingPunct="1">
              <a:lnSpc>
                <a:spcPct val="102000"/>
              </a:lnSpc>
              <a:spcBef>
                <a:spcPts val="200"/>
              </a:spcBef>
              <a:buSzPct val="100000"/>
              <a:buFont typeface="Arial Narrow" panose="020B0606020202030204" pitchFamily="34" charset="0"/>
              <a:buChar char="-"/>
              <a:defRPr sz="900" kern="120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268288" indent="-92075" algn="l" defTabSz="914400" rtl="0" eaLnBrk="1" latinLnBrk="0" hangingPunct="1">
              <a:lnSpc>
                <a:spcPct val="102000"/>
              </a:lnSpc>
              <a:spcBef>
                <a:spcPts val="0"/>
              </a:spcBef>
              <a:buFont typeface="Arial Narrow" panose="020B0606020202030204" pitchFamily="34" charset="0"/>
              <a:buChar char="-"/>
              <a:defRPr sz="800" b="0" kern="1200" cap="none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kern="1200" spc="-2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r>
              <a:rPr lang="en-US" sz="1400" kern="100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The timing of brand exposure determines signage impact and value</a:t>
            </a: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endParaRPr lang="en-US" sz="600" kern="100" dirty="0">
              <a:latin typeface="+mn-lt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r>
              <a:rPr lang="en-US" sz="1400" kern="100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Attention to sponsors depends on the suspense and the timeline of a game </a:t>
            </a:r>
            <a:r>
              <a:rPr lang="en-US" sz="800" kern="100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(e.g., Lee et al., 2019; Breuer et al., 2021; Boronczyk et al., 2021)</a:t>
            </a:r>
          </a:p>
          <a:p>
            <a:pPr marL="342900" lvl="1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700" kern="100" dirty="0">
              <a:latin typeface="+mn-lt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lvl="1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400" kern="100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With dynamic signage, clubs can control - and price! – brands’ exposure based on timing </a:t>
            </a:r>
            <a:r>
              <a:rPr lang="de-DE" sz="800" kern="100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(Breuer, Boronczyk &amp; Rumpf, 2021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281566-C23B-2ED1-105B-8C576C6881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565" y="259998"/>
            <a:ext cx="839566" cy="839566"/>
          </a:xfrm>
          <a:prstGeom prst="rect">
            <a:avLst/>
          </a:prstGeom>
        </p:spPr>
      </p:pic>
      <p:graphicFrame>
        <p:nvGraphicFramePr>
          <p:cNvPr id="15" name="Diagramm 11">
            <a:extLst>
              <a:ext uri="{FF2B5EF4-FFF2-40B4-BE49-F238E27FC236}">
                <a16:creationId xmlns:a16="http://schemas.microsoft.com/office/drawing/2014/main" id="{7EBBCF07-3E14-87F7-921E-33B1B29774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2058097"/>
              </p:ext>
            </p:extLst>
          </p:nvPr>
        </p:nvGraphicFramePr>
        <p:xfrm>
          <a:off x="5436097" y="1205874"/>
          <a:ext cx="3600400" cy="2085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A403BD8C-FE59-AED8-44B9-D34B8A3A7948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597006"/>
            <a:ext cx="144264" cy="144085"/>
            <a:chOff x="530225" y="1979613"/>
            <a:chExt cx="1284288" cy="1282700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E25A816-1AE9-9FA6-3C63-5ACDCC0D6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B572CDB-0FE7-EA0F-0A38-77EC8A1BA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5B6DD40-835C-C775-0F08-A62C95A5F72E}"/>
              </a:ext>
            </a:extLst>
          </p:cNvPr>
          <p:cNvGrpSpPr>
            <a:grpSpLocks noChangeAspect="1"/>
          </p:cNvGrpSpPr>
          <p:nvPr/>
        </p:nvGrpSpPr>
        <p:grpSpPr>
          <a:xfrm>
            <a:off x="508332" y="3997416"/>
            <a:ext cx="144264" cy="144085"/>
            <a:chOff x="530225" y="1979613"/>
            <a:chExt cx="1284288" cy="128270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87DDAFBB-89CC-3CA9-0A5C-61E09A7C5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E85D2B98-0CD5-E659-D560-2810DA6D9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451396C-F61D-BCEB-6AAA-199A462A4DA1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784890"/>
            <a:ext cx="144264" cy="144085"/>
            <a:chOff x="530225" y="1979613"/>
            <a:chExt cx="1284288" cy="1282700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B902039A-41F8-73C1-BE67-52AE1736A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DB088EE7-4808-4085-E29A-5174384ED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414A98A-F427-0677-E4DD-2D6E475822E9}"/>
              </a:ext>
            </a:extLst>
          </p:cNvPr>
          <p:cNvCxnSpPr/>
          <p:nvPr/>
        </p:nvCxnSpPr>
        <p:spPr>
          <a:xfrm flipV="1">
            <a:off x="7375232" y="1352694"/>
            <a:ext cx="0" cy="1512168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655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 descr="A screenshot of a computer&#10;&#10;Description automatically generated">
            <a:extLst>
              <a:ext uri="{FF2B5EF4-FFF2-40B4-BE49-F238E27FC236}">
                <a16:creationId xmlns:a16="http://schemas.microsoft.com/office/drawing/2014/main" id="{12CB012B-E382-5D72-FCF9-EE4D2EBA2B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44" t="10335" r="26966"/>
          <a:stretch/>
        </p:blipFill>
        <p:spPr>
          <a:xfrm>
            <a:off x="4355975" y="-2250"/>
            <a:ext cx="4788025" cy="5156052"/>
          </a:xfrm>
          <a:prstGeom prst="rect">
            <a:avLst/>
          </a:prstGeom>
        </p:spPr>
      </p:pic>
      <p:sp>
        <p:nvSpPr>
          <p:cNvPr id="10" name="Rechteck 90">
            <a:extLst>
              <a:ext uri="{FF2B5EF4-FFF2-40B4-BE49-F238E27FC236}">
                <a16:creationId xmlns:a16="http://schemas.microsoft.com/office/drawing/2014/main" id="{21724CA6-E4CB-F899-36E2-704E45D6A223}"/>
              </a:ext>
            </a:extLst>
          </p:cNvPr>
          <p:cNvSpPr/>
          <p:nvPr/>
        </p:nvSpPr>
        <p:spPr bwMode="auto">
          <a:xfrm>
            <a:off x="3707904" y="-2250"/>
            <a:ext cx="5436096" cy="5143500"/>
          </a:xfrm>
          <a:prstGeom prst="rect">
            <a:avLst/>
          </a:prstGeom>
          <a:gradFill flip="none" rotWithShape="1">
            <a:gsLst>
              <a:gs pos="23000">
                <a:schemeClr val="tx2"/>
              </a:gs>
              <a:gs pos="100000">
                <a:schemeClr val="tx2">
                  <a:alpha val="58000"/>
                </a:schemeClr>
              </a:gs>
            </a:gsLst>
            <a:lin ang="0" scaled="0"/>
            <a:tileRect/>
          </a:gra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F088C0-7B71-AEEE-9A4E-695440D11E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6000" y="738000"/>
            <a:ext cx="8351045" cy="215444"/>
          </a:xfrm>
        </p:spPr>
        <p:txBody>
          <a:bodyPr/>
          <a:lstStyle/>
          <a:p>
            <a:r>
              <a:rPr lang="en-US" dirty="0"/>
              <a:t>Beware of the company you kee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C35701-80A3-4099-0407-C45CD1D86FF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0B9943A-8FFE-4C60-9517-AF2D14F6B36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FBEE92D-A88E-4780-F26D-60941AAB1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000" y="334800"/>
            <a:ext cx="8351045" cy="292388"/>
          </a:xfrm>
        </p:spPr>
        <p:txBody>
          <a:bodyPr/>
          <a:lstStyle/>
          <a:p>
            <a:r>
              <a:rPr lang="en-US" sz="2000" dirty="0"/>
              <a:t>III. Be deliberate in your partner selection</a:t>
            </a:r>
            <a:endParaRPr lang="en-US" sz="20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D2DB97-4524-2BDF-D256-192FAAE56C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565" y="259998"/>
            <a:ext cx="839566" cy="839566"/>
          </a:xfrm>
          <a:prstGeom prst="rect">
            <a:avLst/>
          </a:prstGeom>
        </p:spPr>
      </p:pic>
      <p:sp>
        <p:nvSpPr>
          <p:cNvPr id="12" name="Google Shape;3353;p39">
            <a:extLst>
              <a:ext uri="{FF2B5EF4-FFF2-40B4-BE49-F238E27FC236}">
                <a16:creationId xmlns:a16="http://schemas.microsoft.com/office/drawing/2014/main" id="{E0510555-EA78-03EE-6107-DBBF4A6FC210}"/>
              </a:ext>
            </a:extLst>
          </p:cNvPr>
          <p:cNvSpPr/>
          <p:nvPr/>
        </p:nvSpPr>
        <p:spPr>
          <a:xfrm>
            <a:off x="438938" y="3291830"/>
            <a:ext cx="5868000" cy="1331569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400" b="1" i="0" u="none" strike="noStrike" cap="none" dirty="0">
                <a:solidFill>
                  <a:schemeClr val="accent2"/>
                </a:solidFill>
                <a:latin typeface="Inter"/>
                <a:ea typeface="Inter"/>
                <a:cs typeface="Inter"/>
                <a:sym typeface="Inter"/>
              </a:rPr>
              <a:t>Key takeaways for hockey clubs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b="1" dirty="0">
                <a:sym typeface="Wingdings" panose="05000000000000000000" pitchFamily="2" charset="2"/>
              </a:rPr>
              <a:t>Brand alliances </a:t>
            </a:r>
            <a:r>
              <a:rPr lang="en-US" sz="1300" dirty="0">
                <a:sym typeface="Wingdings" panose="05000000000000000000" pitchFamily="2" charset="2"/>
              </a:rPr>
              <a:t>between sponsors can be mutually beneficial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dirty="0">
                <a:sym typeface="Wingdings" panose="05000000000000000000" pitchFamily="2" charset="2"/>
              </a:rPr>
              <a:t>Assembling a roster of selected sponsors can </a:t>
            </a:r>
            <a:r>
              <a:rPr lang="en-US" sz="1300" b="1" dirty="0">
                <a:sym typeface="Wingdings" panose="05000000000000000000" pitchFamily="2" charset="2"/>
              </a:rPr>
              <a:t>create value </a:t>
            </a:r>
            <a:r>
              <a:rPr lang="en-US" sz="1300" dirty="0">
                <a:sym typeface="Wingdings" panose="05000000000000000000" pitchFamily="2" charset="2"/>
              </a:rPr>
              <a:t>for all partners</a:t>
            </a:r>
          </a:p>
          <a:p>
            <a:pPr marL="279400" lvl="1" indent="-279400">
              <a:buFont typeface="Symbol" panose="05050102010706020507" pitchFamily="18" charset="2"/>
              <a:buChar char="-"/>
            </a:pPr>
            <a:r>
              <a:rPr lang="en-US" sz="1300" b="1" dirty="0">
                <a:sym typeface="Wingdings" panose="05000000000000000000" pitchFamily="2" charset="2"/>
              </a:rPr>
              <a:t>Negative effects </a:t>
            </a:r>
            <a:r>
              <a:rPr lang="en-US" sz="1300" dirty="0">
                <a:sym typeface="Wingdings" panose="05000000000000000000" pitchFamily="2" charset="2"/>
              </a:rPr>
              <a:t>for sponsors are also possible and must be avoided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82D92AB-CEFF-160D-2CF1-1625934A41D6}"/>
              </a:ext>
            </a:extLst>
          </p:cNvPr>
          <p:cNvSpPr txBox="1">
            <a:spLocks/>
          </p:cNvSpPr>
          <p:nvPr/>
        </p:nvSpPr>
        <p:spPr>
          <a:xfrm>
            <a:off x="438151" y="1274763"/>
            <a:ext cx="5868000" cy="3348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2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38113" indent="-138113" algn="l" defTabSz="914400" rtl="0" eaLnBrk="1" latinLnBrk="0" hangingPunct="1">
              <a:lnSpc>
                <a:spcPct val="102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266700" indent="-123825" algn="l" defTabSz="914400" rtl="0" eaLnBrk="1" latinLnBrk="0" hangingPunct="1">
              <a:lnSpc>
                <a:spcPct val="102000"/>
              </a:lnSpc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61950" indent="-95250" algn="l" defTabSz="914400" rtl="0" eaLnBrk="1" latinLnBrk="0" hangingPunct="1">
              <a:lnSpc>
                <a:spcPct val="102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 sz="1000" b="0" kern="1200" cap="none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1" kern="1200" spc="-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r>
              <a:rPr lang="en-US" sz="1400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Images rub off from club to sponsors, from sponsor to clubs – but  also between sponsors! </a:t>
            </a:r>
            <a:r>
              <a:rPr lang="en-US" sz="800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(e.g., Boronczyk &amp; Breuer, 2019; </a:t>
            </a:r>
            <a:r>
              <a:rPr lang="en-US" sz="800" kern="100" dirty="0" err="1">
                <a:solidFill>
                  <a:schemeClr val="bg1"/>
                </a:solidFill>
                <a:cs typeface="Times New Roman" panose="02020603050405020304" pitchFamily="18" charset="0"/>
              </a:rPr>
              <a:t>Carrillat</a:t>
            </a:r>
            <a:r>
              <a:rPr lang="en-US" sz="800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 et al., 2015)</a:t>
            </a:r>
            <a:endParaRPr lang="de-DE" sz="800" kern="1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endParaRPr lang="en-US" sz="1400" b="1" kern="1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r>
              <a:rPr lang="en-US" sz="1400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This can generate </a:t>
            </a:r>
            <a:r>
              <a:rPr lang="en-US" sz="1400" b="1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considerable benefits </a:t>
            </a:r>
            <a:r>
              <a:rPr lang="en-US" sz="1400" kern="100" dirty="0">
                <a:solidFill>
                  <a:schemeClr val="bg1"/>
                </a:solidFill>
                <a:cs typeface="Times New Roman" panose="02020603050405020304" pitchFamily="18" charset="0"/>
              </a:rPr>
              <a:t>- but also depreciate the value of a sponsorship – depending on the co-sponsors!</a:t>
            </a:r>
            <a:endParaRPr lang="de-DE" sz="1400" kern="1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endParaRPr lang="en-US" sz="800" b="1" kern="1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342900" lvl="2" indent="-342900">
              <a:lnSpc>
                <a:spcPct val="107000"/>
              </a:lnSpc>
              <a:spcBef>
                <a:spcPts val="500"/>
              </a:spcBef>
              <a:buFont typeface="Calibri" panose="020F0502020204030204" pitchFamily="34" charset="0"/>
              <a:buChar char="-"/>
            </a:pPr>
            <a:endParaRPr lang="en-US" kern="100" dirty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1E8C29A-DAF0-3C48-B2A3-61DCFD0204BC}"/>
              </a:ext>
            </a:extLst>
          </p:cNvPr>
          <p:cNvGrpSpPr>
            <a:grpSpLocks noChangeAspect="1"/>
          </p:cNvGrpSpPr>
          <p:nvPr/>
        </p:nvGrpSpPr>
        <p:grpSpPr>
          <a:xfrm>
            <a:off x="507097" y="3597006"/>
            <a:ext cx="144264" cy="144085"/>
            <a:chOff x="530225" y="1979613"/>
            <a:chExt cx="1284288" cy="1282700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372D2FE-4172-7373-8C3A-533202C95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A552EFD4-B983-F922-2964-598174DA8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0094F42-D22F-9269-6F8E-E854DCBD7A0B}"/>
              </a:ext>
            </a:extLst>
          </p:cNvPr>
          <p:cNvGrpSpPr>
            <a:grpSpLocks noChangeAspect="1"/>
          </p:cNvGrpSpPr>
          <p:nvPr/>
        </p:nvGrpSpPr>
        <p:grpSpPr>
          <a:xfrm>
            <a:off x="499188" y="3803957"/>
            <a:ext cx="144264" cy="144085"/>
            <a:chOff x="530225" y="1979613"/>
            <a:chExt cx="1284288" cy="1282700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38B8AA3C-B61F-8A39-4BE2-D78176872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C8EC8EF-7A42-E16C-4201-9231606F0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3671C3A-9D72-7777-D1EB-E7FBD7D5B419}"/>
              </a:ext>
            </a:extLst>
          </p:cNvPr>
          <p:cNvGrpSpPr>
            <a:grpSpLocks noChangeAspect="1"/>
          </p:cNvGrpSpPr>
          <p:nvPr/>
        </p:nvGrpSpPr>
        <p:grpSpPr>
          <a:xfrm>
            <a:off x="496758" y="4000097"/>
            <a:ext cx="144264" cy="144085"/>
            <a:chOff x="530225" y="1979613"/>
            <a:chExt cx="1284288" cy="1282700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2AFDDF70-06A9-C6EE-9DF6-C2117DCF1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" y="1979613"/>
              <a:ext cx="1284288" cy="1282700"/>
            </a:xfrm>
            <a:custGeom>
              <a:avLst/>
              <a:gdLst>
                <a:gd name="T0" fmla="*/ 809 w 809"/>
                <a:gd name="T1" fmla="*/ 404 h 808"/>
                <a:gd name="T2" fmla="*/ 801 w 809"/>
                <a:gd name="T3" fmla="*/ 486 h 808"/>
                <a:gd name="T4" fmla="*/ 779 w 809"/>
                <a:gd name="T5" fmla="*/ 562 h 808"/>
                <a:gd name="T6" fmla="*/ 741 w 809"/>
                <a:gd name="T7" fmla="*/ 630 h 808"/>
                <a:gd name="T8" fmla="*/ 691 w 809"/>
                <a:gd name="T9" fmla="*/ 690 h 808"/>
                <a:gd name="T10" fmla="*/ 631 w 809"/>
                <a:gd name="T11" fmla="*/ 740 h 808"/>
                <a:gd name="T12" fmla="*/ 563 w 809"/>
                <a:gd name="T13" fmla="*/ 778 h 808"/>
                <a:gd name="T14" fmla="*/ 487 w 809"/>
                <a:gd name="T15" fmla="*/ 800 h 808"/>
                <a:gd name="T16" fmla="*/ 404 w 809"/>
                <a:gd name="T17" fmla="*/ 808 h 808"/>
                <a:gd name="T18" fmla="*/ 362 w 809"/>
                <a:gd name="T19" fmla="*/ 806 h 808"/>
                <a:gd name="T20" fmla="*/ 284 w 809"/>
                <a:gd name="T21" fmla="*/ 790 h 808"/>
                <a:gd name="T22" fmla="*/ 212 w 809"/>
                <a:gd name="T23" fmla="*/ 760 h 808"/>
                <a:gd name="T24" fmla="*/ 146 w 809"/>
                <a:gd name="T25" fmla="*/ 716 h 808"/>
                <a:gd name="T26" fmla="*/ 92 w 809"/>
                <a:gd name="T27" fmla="*/ 662 h 808"/>
                <a:gd name="T28" fmla="*/ 48 w 809"/>
                <a:gd name="T29" fmla="*/ 598 h 808"/>
                <a:gd name="T30" fmla="*/ 18 w 809"/>
                <a:gd name="T31" fmla="*/ 524 h 808"/>
                <a:gd name="T32" fmla="*/ 2 w 809"/>
                <a:gd name="T33" fmla="*/ 446 h 808"/>
                <a:gd name="T34" fmla="*/ 0 w 809"/>
                <a:gd name="T35" fmla="*/ 404 h 808"/>
                <a:gd name="T36" fmla="*/ 8 w 809"/>
                <a:gd name="T37" fmla="*/ 322 h 808"/>
                <a:gd name="T38" fmla="*/ 32 w 809"/>
                <a:gd name="T39" fmla="*/ 246 h 808"/>
                <a:gd name="T40" fmla="*/ 68 w 809"/>
                <a:gd name="T41" fmla="*/ 178 h 808"/>
                <a:gd name="T42" fmla="*/ 118 w 809"/>
                <a:gd name="T43" fmla="*/ 118 h 808"/>
                <a:gd name="T44" fmla="*/ 178 w 809"/>
                <a:gd name="T45" fmla="*/ 68 h 808"/>
                <a:gd name="T46" fmla="*/ 246 w 809"/>
                <a:gd name="T47" fmla="*/ 32 h 808"/>
                <a:gd name="T48" fmla="*/ 322 w 809"/>
                <a:gd name="T49" fmla="*/ 8 h 808"/>
                <a:gd name="T50" fmla="*/ 404 w 809"/>
                <a:gd name="T51" fmla="*/ 0 h 808"/>
                <a:gd name="T52" fmla="*/ 447 w 809"/>
                <a:gd name="T53" fmla="*/ 2 h 808"/>
                <a:gd name="T54" fmla="*/ 525 w 809"/>
                <a:gd name="T55" fmla="*/ 18 h 808"/>
                <a:gd name="T56" fmla="*/ 599 w 809"/>
                <a:gd name="T57" fmla="*/ 48 h 808"/>
                <a:gd name="T58" fmla="*/ 663 w 809"/>
                <a:gd name="T59" fmla="*/ 92 h 808"/>
                <a:gd name="T60" fmla="*/ 717 w 809"/>
                <a:gd name="T61" fmla="*/ 146 h 808"/>
                <a:gd name="T62" fmla="*/ 761 w 809"/>
                <a:gd name="T63" fmla="*/ 212 h 808"/>
                <a:gd name="T64" fmla="*/ 791 w 809"/>
                <a:gd name="T65" fmla="*/ 284 h 808"/>
                <a:gd name="T66" fmla="*/ 807 w 809"/>
                <a:gd name="T67" fmla="*/ 362 h 808"/>
                <a:gd name="T68" fmla="*/ 809 w 809"/>
                <a:gd name="T69" fmla="*/ 404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9" h="808">
                  <a:moveTo>
                    <a:pt x="809" y="404"/>
                  </a:moveTo>
                  <a:lnTo>
                    <a:pt x="809" y="404"/>
                  </a:lnTo>
                  <a:lnTo>
                    <a:pt x="807" y="446"/>
                  </a:lnTo>
                  <a:lnTo>
                    <a:pt x="801" y="486"/>
                  </a:lnTo>
                  <a:lnTo>
                    <a:pt x="791" y="524"/>
                  </a:lnTo>
                  <a:lnTo>
                    <a:pt x="779" y="562"/>
                  </a:lnTo>
                  <a:lnTo>
                    <a:pt x="761" y="598"/>
                  </a:lnTo>
                  <a:lnTo>
                    <a:pt x="741" y="630"/>
                  </a:lnTo>
                  <a:lnTo>
                    <a:pt x="717" y="662"/>
                  </a:lnTo>
                  <a:lnTo>
                    <a:pt x="691" y="690"/>
                  </a:lnTo>
                  <a:lnTo>
                    <a:pt x="663" y="716"/>
                  </a:lnTo>
                  <a:lnTo>
                    <a:pt x="631" y="740"/>
                  </a:lnTo>
                  <a:lnTo>
                    <a:pt x="599" y="760"/>
                  </a:lnTo>
                  <a:lnTo>
                    <a:pt x="563" y="778"/>
                  </a:lnTo>
                  <a:lnTo>
                    <a:pt x="525" y="790"/>
                  </a:lnTo>
                  <a:lnTo>
                    <a:pt x="487" y="800"/>
                  </a:lnTo>
                  <a:lnTo>
                    <a:pt x="447" y="806"/>
                  </a:lnTo>
                  <a:lnTo>
                    <a:pt x="404" y="808"/>
                  </a:lnTo>
                  <a:lnTo>
                    <a:pt x="404" y="808"/>
                  </a:lnTo>
                  <a:lnTo>
                    <a:pt x="362" y="806"/>
                  </a:lnTo>
                  <a:lnTo>
                    <a:pt x="322" y="800"/>
                  </a:lnTo>
                  <a:lnTo>
                    <a:pt x="284" y="790"/>
                  </a:lnTo>
                  <a:lnTo>
                    <a:pt x="246" y="778"/>
                  </a:lnTo>
                  <a:lnTo>
                    <a:pt x="212" y="760"/>
                  </a:lnTo>
                  <a:lnTo>
                    <a:pt x="178" y="740"/>
                  </a:lnTo>
                  <a:lnTo>
                    <a:pt x="146" y="716"/>
                  </a:lnTo>
                  <a:lnTo>
                    <a:pt x="118" y="690"/>
                  </a:lnTo>
                  <a:lnTo>
                    <a:pt x="92" y="662"/>
                  </a:lnTo>
                  <a:lnTo>
                    <a:pt x="68" y="630"/>
                  </a:lnTo>
                  <a:lnTo>
                    <a:pt x="48" y="598"/>
                  </a:lnTo>
                  <a:lnTo>
                    <a:pt x="32" y="562"/>
                  </a:lnTo>
                  <a:lnTo>
                    <a:pt x="18" y="524"/>
                  </a:lnTo>
                  <a:lnTo>
                    <a:pt x="8" y="486"/>
                  </a:lnTo>
                  <a:lnTo>
                    <a:pt x="2" y="446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2" y="362"/>
                  </a:lnTo>
                  <a:lnTo>
                    <a:pt x="8" y="322"/>
                  </a:lnTo>
                  <a:lnTo>
                    <a:pt x="18" y="284"/>
                  </a:lnTo>
                  <a:lnTo>
                    <a:pt x="32" y="246"/>
                  </a:lnTo>
                  <a:lnTo>
                    <a:pt x="48" y="212"/>
                  </a:lnTo>
                  <a:lnTo>
                    <a:pt x="68" y="178"/>
                  </a:lnTo>
                  <a:lnTo>
                    <a:pt x="92" y="146"/>
                  </a:lnTo>
                  <a:lnTo>
                    <a:pt x="118" y="118"/>
                  </a:lnTo>
                  <a:lnTo>
                    <a:pt x="146" y="92"/>
                  </a:lnTo>
                  <a:lnTo>
                    <a:pt x="178" y="68"/>
                  </a:lnTo>
                  <a:lnTo>
                    <a:pt x="212" y="48"/>
                  </a:lnTo>
                  <a:lnTo>
                    <a:pt x="246" y="32"/>
                  </a:lnTo>
                  <a:lnTo>
                    <a:pt x="284" y="18"/>
                  </a:lnTo>
                  <a:lnTo>
                    <a:pt x="322" y="8"/>
                  </a:lnTo>
                  <a:lnTo>
                    <a:pt x="362" y="2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47" y="2"/>
                  </a:lnTo>
                  <a:lnTo>
                    <a:pt x="487" y="8"/>
                  </a:lnTo>
                  <a:lnTo>
                    <a:pt x="525" y="18"/>
                  </a:lnTo>
                  <a:lnTo>
                    <a:pt x="563" y="32"/>
                  </a:lnTo>
                  <a:lnTo>
                    <a:pt x="599" y="48"/>
                  </a:lnTo>
                  <a:lnTo>
                    <a:pt x="631" y="68"/>
                  </a:lnTo>
                  <a:lnTo>
                    <a:pt x="663" y="92"/>
                  </a:lnTo>
                  <a:lnTo>
                    <a:pt x="691" y="118"/>
                  </a:lnTo>
                  <a:lnTo>
                    <a:pt x="717" y="146"/>
                  </a:lnTo>
                  <a:lnTo>
                    <a:pt x="741" y="178"/>
                  </a:lnTo>
                  <a:lnTo>
                    <a:pt x="761" y="212"/>
                  </a:lnTo>
                  <a:lnTo>
                    <a:pt x="779" y="246"/>
                  </a:lnTo>
                  <a:lnTo>
                    <a:pt x="791" y="284"/>
                  </a:lnTo>
                  <a:lnTo>
                    <a:pt x="801" y="322"/>
                  </a:lnTo>
                  <a:lnTo>
                    <a:pt x="807" y="362"/>
                  </a:lnTo>
                  <a:lnTo>
                    <a:pt x="809" y="404"/>
                  </a:lnTo>
                  <a:lnTo>
                    <a:pt x="809" y="40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C3419837-A041-0F1A-0C8A-2EF4CF864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2344738"/>
              <a:ext cx="706438" cy="552450"/>
            </a:xfrm>
            <a:custGeom>
              <a:avLst/>
              <a:gdLst>
                <a:gd name="T0" fmla="*/ 138 w 445"/>
                <a:gd name="T1" fmla="*/ 340 h 348"/>
                <a:gd name="T2" fmla="*/ 8 w 445"/>
                <a:gd name="T3" fmla="*/ 210 h 348"/>
                <a:gd name="T4" fmla="*/ 8 w 445"/>
                <a:gd name="T5" fmla="*/ 210 h 348"/>
                <a:gd name="T6" fmla="*/ 2 w 445"/>
                <a:gd name="T7" fmla="*/ 202 h 348"/>
                <a:gd name="T8" fmla="*/ 0 w 445"/>
                <a:gd name="T9" fmla="*/ 192 h 348"/>
                <a:gd name="T10" fmla="*/ 2 w 445"/>
                <a:gd name="T11" fmla="*/ 182 h 348"/>
                <a:gd name="T12" fmla="*/ 8 w 445"/>
                <a:gd name="T13" fmla="*/ 174 h 348"/>
                <a:gd name="T14" fmla="*/ 42 w 445"/>
                <a:gd name="T15" fmla="*/ 140 h 348"/>
                <a:gd name="T16" fmla="*/ 42 w 445"/>
                <a:gd name="T17" fmla="*/ 140 h 348"/>
                <a:gd name="T18" fmla="*/ 50 w 445"/>
                <a:gd name="T19" fmla="*/ 136 h 348"/>
                <a:gd name="T20" fmla="*/ 58 w 445"/>
                <a:gd name="T21" fmla="*/ 134 h 348"/>
                <a:gd name="T22" fmla="*/ 68 w 445"/>
                <a:gd name="T23" fmla="*/ 136 h 348"/>
                <a:gd name="T24" fmla="*/ 76 w 445"/>
                <a:gd name="T25" fmla="*/ 140 h 348"/>
                <a:gd name="T26" fmla="*/ 156 w 445"/>
                <a:gd name="T27" fmla="*/ 220 h 348"/>
                <a:gd name="T28" fmla="*/ 369 w 445"/>
                <a:gd name="T29" fmla="*/ 8 h 348"/>
                <a:gd name="T30" fmla="*/ 369 w 445"/>
                <a:gd name="T31" fmla="*/ 8 h 348"/>
                <a:gd name="T32" fmla="*/ 377 w 445"/>
                <a:gd name="T33" fmla="*/ 2 h 348"/>
                <a:gd name="T34" fmla="*/ 387 w 445"/>
                <a:gd name="T35" fmla="*/ 0 h 348"/>
                <a:gd name="T36" fmla="*/ 397 w 445"/>
                <a:gd name="T37" fmla="*/ 2 h 348"/>
                <a:gd name="T38" fmla="*/ 405 w 445"/>
                <a:gd name="T39" fmla="*/ 8 h 348"/>
                <a:gd name="T40" fmla="*/ 439 w 445"/>
                <a:gd name="T41" fmla="*/ 42 h 348"/>
                <a:gd name="T42" fmla="*/ 439 w 445"/>
                <a:gd name="T43" fmla="*/ 42 h 348"/>
                <a:gd name="T44" fmla="*/ 443 w 445"/>
                <a:gd name="T45" fmla="*/ 50 h 348"/>
                <a:gd name="T46" fmla="*/ 445 w 445"/>
                <a:gd name="T47" fmla="*/ 60 h 348"/>
                <a:gd name="T48" fmla="*/ 443 w 445"/>
                <a:gd name="T49" fmla="*/ 68 h 348"/>
                <a:gd name="T50" fmla="*/ 439 w 445"/>
                <a:gd name="T51" fmla="*/ 78 h 348"/>
                <a:gd name="T52" fmla="*/ 174 w 445"/>
                <a:gd name="T53" fmla="*/ 340 h 348"/>
                <a:gd name="T54" fmla="*/ 174 w 445"/>
                <a:gd name="T55" fmla="*/ 340 h 348"/>
                <a:gd name="T56" fmla="*/ 166 w 445"/>
                <a:gd name="T57" fmla="*/ 346 h 348"/>
                <a:gd name="T58" fmla="*/ 156 w 445"/>
                <a:gd name="T59" fmla="*/ 348 h 348"/>
                <a:gd name="T60" fmla="*/ 146 w 445"/>
                <a:gd name="T61" fmla="*/ 346 h 348"/>
                <a:gd name="T62" fmla="*/ 138 w 445"/>
                <a:gd name="T63" fmla="*/ 340 h 348"/>
                <a:gd name="T64" fmla="*/ 138 w 445"/>
                <a:gd name="T65" fmla="*/ 34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5" h="348">
                  <a:moveTo>
                    <a:pt x="138" y="340"/>
                  </a:moveTo>
                  <a:lnTo>
                    <a:pt x="8" y="210"/>
                  </a:lnTo>
                  <a:lnTo>
                    <a:pt x="8" y="210"/>
                  </a:lnTo>
                  <a:lnTo>
                    <a:pt x="2" y="202"/>
                  </a:lnTo>
                  <a:lnTo>
                    <a:pt x="0" y="192"/>
                  </a:lnTo>
                  <a:lnTo>
                    <a:pt x="2" y="182"/>
                  </a:lnTo>
                  <a:lnTo>
                    <a:pt x="8" y="174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50" y="136"/>
                  </a:lnTo>
                  <a:lnTo>
                    <a:pt x="58" y="134"/>
                  </a:lnTo>
                  <a:lnTo>
                    <a:pt x="68" y="136"/>
                  </a:lnTo>
                  <a:lnTo>
                    <a:pt x="76" y="140"/>
                  </a:lnTo>
                  <a:lnTo>
                    <a:pt x="156" y="220"/>
                  </a:lnTo>
                  <a:lnTo>
                    <a:pt x="369" y="8"/>
                  </a:lnTo>
                  <a:lnTo>
                    <a:pt x="369" y="8"/>
                  </a:lnTo>
                  <a:lnTo>
                    <a:pt x="377" y="2"/>
                  </a:lnTo>
                  <a:lnTo>
                    <a:pt x="387" y="0"/>
                  </a:lnTo>
                  <a:lnTo>
                    <a:pt x="397" y="2"/>
                  </a:lnTo>
                  <a:lnTo>
                    <a:pt x="405" y="8"/>
                  </a:lnTo>
                  <a:lnTo>
                    <a:pt x="439" y="42"/>
                  </a:lnTo>
                  <a:lnTo>
                    <a:pt x="439" y="42"/>
                  </a:lnTo>
                  <a:lnTo>
                    <a:pt x="443" y="50"/>
                  </a:lnTo>
                  <a:lnTo>
                    <a:pt x="445" y="60"/>
                  </a:lnTo>
                  <a:lnTo>
                    <a:pt x="443" y="68"/>
                  </a:lnTo>
                  <a:lnTo>
                    <a:pt x="439" y="78"/>
                  </a:lnTo>
                  <a:lnTo>
                    <a:pt x="174" y="340"/>
                  </a:lnTo>
                  <a:lnTo>
                    <a:pt x="174" y="340"/>
                  </a:lnTo>
                  <a:lnTo>
                    <a:pt x="166" y="346"/>
                  </a:lnTo>
                  <a:lnTo>
                    <a:pt x="156" y="348"/>
                  </a:lnTo>
                  <a:lnTo>
                    <a:pt x="146" y="346"/>
                  </a:lnTo>
                  <a:lnTo>
                    <a:pt x="138" y="340"/>
                  </a:lnTo>
                  <a:lnTo>
                    <a:pt x="138" y="3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26" name="Oval 25">
            <a:extLst>
              <a:ext uri="{FF2B5EF4-FFF2-40B4-BE49-F238E27FC236}">
                <a16:creationId xmlns:a16="http://schemas.microsoft.com/office/drawing/2014/main" id="{BB1B2D83-46FF-2058-1AEF-2F988897D222}"/>
              </a:ext>
            </a:extLst>
          </p:cNvPr>
          <p:cNvSpPr/>
          <p:nvPr/>
        </p:nvSpPr>
        <p:spPr bwMode="auto">
          <a:xfrm>
            <a:off x="7285270" y="1579543"/>
            <a:ext cx="622565" cy="622564"/>
          </a:xfrm>
          <a:prstGeom prst="ellipse">
            <a:avLst/>
          </a:prstGeom>
          <a:solidFill>
            <a:srgbClr val="C4EDEC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 sz="600" b="1" dirty="0">
              <a:solidFill>
                <a:schemeClr val="bg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05E673D-5BC4-CB77-2F10-F750ABE75B1A}"/>
              </a:ext>
            </a:extLst>
          </p:cNvPr>
          <p:cNvSpPr/>
          <p:nvPr/>
        </p:nvSpPr>
        <p:spPr bwMode="auto">
          <a:xfrm>
            <a:off x="6481908" y="2553137"/>
            <a:ext cx="622565" cy="622564"/>
          </a:xfrm>
          <a:prstGeom prst="ellipse">
            <a:avLst/>
          </a:prstGeom>
          <a:solidFill>
            <a:srgbClr val="88DCDA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41F49A5-9989-16F5-5D80-9C504C697D51}"/>
              </a:ext>
            </a:extLst>
          </p:cNvPr>
          <p:cNvSpPr/>
          <p:nvPr/>
        </p:nvSpPr>
        <p:spPr bwMode="auto">
          <a:xfrm>
            <a:off x="8134400" y="2553137"/>
            <a:ext cx="622565" cy="622564"/>
          </a:xfrm>
          <a:prstGeom prst="ellipse">
            <a:avLst/>
          </a:prstGeom>
          <a:solidFill>
            <a:srgbClr val="88DCDA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DE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C46DED6-9A14-641A-26AC-3F4CF214F554}"/>
              </a:ext>
            </a:extLst>
          </p:cNvPr>
          <p:cNvCxnSpPr>
            <a:cxnSpLocks/>
            <a:stCxn id="27" idx="7"/>
            <a:endCxn id="26" idx="3"/>
          </p:cNvCxnSpPr>
          <p:nvPr/>
        </p:nvCxnSpPr>
        <p:spPr>
          <a:xfrm flipV="1">
            <a:off x="7013300" y="2110935"/>
            <a:ext cx="363143" cy="533374"/>
          </a:xfrm>
          <a:prstGeom prst="straightConnector1">
            <a:avLst/>
          </a:prstGeom>
          <a:ln w="9525" cap="rnd">
            <a:solidFill>
              <a:schemeClr val="bg1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2C1903E-7A3A-BBCE-DF4F-DEE6990964D0}"/>
              </a:ext>
            </a:extLst>
          </p:cNvPr>
          <p:cNvCxnSpPr>
            <a:cxnSpLocks/>
          </p:cNvCxnSpPr>
          <p:nvPr/>
        </p:nvCxnSpPr>
        <p:spPr>
          <a:xfrm>
            <a:off x="7104473" y="2864419"/>
            <a:ext cx="1029927" cy="0"/>
          </a:xfrm>
          <a:prstGeom prst="straightConnector1">
            <a:avLst/>
          </a:prstGeom>
          <a:ln w="9525" cap="rnd">
            <a:solidFill>
              <a:schemeClr val="bg1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E09C15BC-49F1-7E8B-B061-B5934893A589}"/>
              </a:ext>
            </a:extLst>
          </p:cNvPr>
          <p:cNvCxnSpPr>
            <a:cxnSpLocks/>
            <a:stCxn id="26" idx="5"/>
            <a:endCxn id="28" idx="1"/>
          </p:cNvCxnSpPr>
          <p:nvPr/>
        </p:nvCxnSpPr>
        <p:spPr>
          <a:xfrm>
            <a:off x="7816662" y="2110935"/>
            <a:ext cx="408911" cy="533374"/>
          </a:xfrm>
          <a:prstGeom prst="straightConnector1">
            <a:avLst/>
          </a:prstGeom>
          <a:ln w="9525" cap="rnd">
            <a:solidFill>
              <a:schemeClr val="bg1"/>
            </a:solidFill>
            <a:round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Picture 38">
            <a:extLst>
              <a:ext uri="{FF2B5EF4-FFF2-40B4-BE49-F238E27FC236}">
                <a16:creationId xmlns:a16="http://schemas.microsoft.com/office/drawing/2014/main" id="{584EB0BD-1EBA-42AC-2901-508DFEE47A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269" y="1579542"/>
            <a:ext cx="622565" cy="622565"/>
          </a:xfrm>
          <a:prstGeom prst="rect">
            <a:avLst/>
          </a:prstGeom>
          <a:noFill/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FEB83DE-518B-4754-7147-90118232F6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088" y="2553137"/>
            <a:ext cx="622564" cy="62256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C6D1CF8D-12F6-8865-2898-AEDA92A1BB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721" y="2553137"/>
            <a:ext cx="622564" cy="622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34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_UPDATEPAGENUMBERS" val="1"/>
  <p:tag name="EE4P_AGENDAWIZARD" val="&lt;ee4p&gt;&lt;layouts&gt;&lt;layout name=&quot;Content&quot; id=&quot;957_2&quot;&gt;&lt;standard&gt;&lt;textframe horizontalAnchor=&quot;1&quot; marginBottom=&quot;6&quot; marginLeft=&quot;0&quot; marginRight=&quot;0&quot; marginTop=&quot;6&quot; orientation=&quot;1&quot; verticalAnchor=&quot;1&quot; /&gt;&lt;font name=&quot;+mn-lt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Content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30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12&quot; top=&quot;90&quot; width=&quot;418.7237&quot; height=&quot;350&quot; /&gt;&lt;settings allowedSizingModeIds=&quot;1|2&quot; allowedFontSizes=&quot;8|9|10|10.5|11|12|14|16|18&quot; allowedTimeFormatIds=&quot;1|2|3&quot; slideLayout=&quot;11&quot; customLayoutNameSingle=&quot;Nur Titel&quot; customLayoutName=&quot;Sub-divider Aqua&quot; customLayoutIndex=&quot;&quot; showBreak=&quot;1&quot; singleAgendaSlideSelected=&quot;1&quot; backupSlideTitle=&quot;Backup: %agendaName%&quot; topMargin=&quot;0&quot; leftMargin=&quot;0&quot; allowedLevels=&quot;2&quot; itemNoFormats=&quot;{1}¦{1}.{2}¦{3:alphaLC}¦{3:alphaLC}.{4:alphaLC}&quot; deleteTitle=&quot;1&quot; deleteTitleSingle=&quot;1&quot; deletePlaceholders=&quot;18&quot; alwaysSelectTopLevel=&quot;1&quot; /&gt;&lt;!-- Agenda item formats --&gt;&lt;cases&gt;&lt;case level=&quot;1&quot; single=&quot;1&quot; break=&quot;0&quot; topMinSpacing=&quot;8&quot; topMaxSpacing=&quot;8&quot; bottomMinSpacing=&quot;0&quot; bottomMaxSpacing=&quot;0&quot;&gt;&lt;element field=&quot;topic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/&gt;&lt;/element&gt;&lt;element field=&quot;responsible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/&gt;&lt;/element&gt;&lt;element field=&quot;freecolumn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/&gt;&lt;/element&gt;&lt;element field=&quot;pageno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/&gt;&lt;/element&gt;&lt;/case&gt;&lt;case level=&quot;2&quot; single=&quot;1&quot; break=&quot;0&quot; topMinSpacing=&quot;2&quot; topMaxSpacing=&quot;2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marginTop=&quot;0&quot; marginRight=&quot;0&quot; marginBottom=&quot;0&quot; verticalAnchor=&quot;3&quot; /&gt;&lt;font relativeSize=&quot;0.685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relativeSize=&quot;0.685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relativeSize=&quot;0.685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relativeSize=&quot;0.685&quot; /&gt;&lt;/element&gt;&lt;element field=&quot;pageno&quot; type=&quot;autoshape&quot; autoShapeType=&quot;1&quot;&gt;&lt;paragraphformat alignment=&quot;1&quot; /&gt;&lt;textframe marginLeft=&quot;0&quot; marginTop=&quot;0&quot; marginRight=&quot;0&quot; marginBottom=&quot;0&quot; verticalAnchor=&quot;3&quot; /&gt;&lt;font relativeSize=&quot;0.685&quot; /&gt;&lt;/element&gt;&lt;/case&gt;&lt;case level=&quot;1&quot; single=&quot;1&quot; break=&quot;1&quot; topMinSpacing=&quot;8&quot; topMaxSpacing=&quot;8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marginTop=&quot;0&quot; marginRight=&quot;0&quot; marginBottom=&quot;0&quot; verticalAnchor=&quot;3&quot; /&gt;&lt;font italic=&quot;1&quot; bold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italic=&quot;1&quot; bold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italic=&quot;1&quot; bold=&quot;1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italic=&quot;1&quot; bold=&quot;1&quot; /&gt;&lt;/element&gt;&lt;element field=&quot;pageno&quot; type=&quot;autoshape&quot; autoShapeType=&quot;1&quot;&gt;&lt;paragraphformat alignment=&quot;3&quot; /&gt;&lt;textframe marginLeft=&quot;0&quot; marginTop=&quot;0&quot; marginRight=&quot;0&quot; marginBottom=&quot;0&quot; verticalAnchor=&quot;3&quot; /&gt;&lt;font italic=&quot;1&quot; bold=&quot;1&quot; /&gt;&lt;/element&gt;&lt;/case&gt;&lt;case level=&quot;1&quot; selected=&quot;0&quot; break=&quot;0&quot; topMinSpacing=&quot;8&quot; topMaxSpacing=&quot;8&quot; bottomMinSpacing=&quot;0&quot; bottomMaxSpacing=&quot;0&quot;&gt;&lt;element field=&quot;topic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0&quot; color=&quot;#C4EDEC&quot; /&gt;&lt;/element&gt;&lt;element field=&quot;responsible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0&quot; color=&quot;#C4EDEC&quot; /&gt;&lt;/element&gt;&lt;element field=&quot;freecolumn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0&quot; color=&quot;#C4EDEC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0&quot; color=&quot;#C4EDEC&quot; /&gt;&lt;/element&gt;&lt;element field=&quot;pageno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0&quot; color=&quot;#C4EDEC&quot; /&gt;&lt;/element&gt;&lt;/case&gt;&lt;case level=&quot;1&quot; selected=&quot;1&quot; break=&quot;0&quot; topMinSpacing=&quot;8&quot; topMaxSpacing=&quot;8&quot; bottomMinSpacing=&quot;0&quot; bottomMaxSpacing=&quot;0&quot;&gt;&lt;element field=&quot;topic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color=&quot;14&quot; /&gt;&lt;/element&gt;&lt;element field=&quot;responsible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color=&quot;14&quot; /&gt;&lt;/element&gt;&lt;element field=&quot;freecolumn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color=&quot;14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color=&quot;14&quot; /&gt;&lt;/element&gt;&lt;element field=&quot;pageno&quot; type=&quot;autoshape&quot; autoShapeType=&quot;1&quot;&gt;&lt;paragraphformat alignment=&quot;1&quot; /&gt;&lt;textframe marginLeft=&quot;0&quot; marginTop=&quot;0&quot; marginRight=&quot;0&quot; marginBottom=&quot;0&quot; verticalAnchor=&quot;3&quot; /&gt;&lt;font bold=&quot;1&quot; color=&quot;14&quot; /&gt;&lt;/element&gt;&lt;/case&gt;&lt;case level=&quot;2&quot; selected=&quot;0&quot; break=&quot;0&quot; topMinSpacing=&quot;2&quot; topMaxSpacing=&quot;2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marginTop=&quot;0&quot; marginRight=&quot;0&quot; marginBottom=&quot;0&quot; verticalAnchor=&quot;3&quot; /&gt;&lt;font relativeSize=&quot;0.685&quot; color=&quot;#C4EDEC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relativeSize=&quot;0.685&quot; color=&quot;#C4EDEC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relativeSize=&quot;0.685&quot; color=&quot;#C4EDEC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relativeSize=&quot;0.685&quot; color=&quot;#C4EDEC&quot; /&gt;&lt;/element&gt;&lt;element field=&quot;pageno&quot; type=&quot;autoshape&quot; autoShapeType=&quot;1&quot;&gt;&lt;paragraphformat alignment=&quot;1&quot; /&gt;&lt;textframe marginLeft=&quot;0&quot; marginTop=&quot;0&quot; marginRight=&quot;0&quot; marginBottom=&quot;0&quot; verticalAnchor=&quot;3&quot; /&gt;&lt;font relativeSize=&quot;0.685&quot; color=&quot;#C4EDEC&quot; /&gt;&lt;/element&gt;&lt;/case&gt;&lt;case level=&quot;2&quot; selected=&quot;1&quot; break=&quot;0&quot; topMinSpacing=&quot;2&quot; topMaxSpacing=&quot;2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marginTop=&quot;0&quot; marginRight=&quot;0&quot; marginBottom=&quot;0&quot; verticalAnchor=&quot;3&quot; /&gt;&lt;font relativeSize=&quot;0.685&quot; bold=&quot;1&quot; color=&quot;14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relativeSize=&quot;0.685&quot; bold=&quot;1&quot; color=&quot;14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relativeSize=&quot;0.685&quot; bold=&quot;1&quot; color=&quot;14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relativeSize=&quot;0.685&quot; bold=&quot;1&quot; color=&quot;14&quot; /&gt;&lt;/element&gt;&lt;element field=&quot;pageno&quot; type=&quot;autoshape&quot; autoShapeType=&quot;1&quot;&gt;&lt;paragraphformat alignment=&quot;1&quot; /&gt;&lt;textframe marginLeft=&quot;0&quot; marginTop=&quot;0&quot; marginRight=&quot;0&quot; marginBottom=&quot;0&quot; verticalAnchor=&quot;3&quot; /&gt;&lt;font relativeSize=&quot;0.685&quot; bold=&quot;1&quot; color=&quot;14&quot; /&gt;&lt;/element&gt;&lt;/case&gt;&lt;case level=&quot;1&quot; selected=&quot;0&quot; break=&quot;1&quot; topMinSpacing=&quot;8&quot; topMaxSpacing=&quot;8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marginTop=&quot;0&quot; marginRight=&quot;0&quot; marginBottom=&quot;0&quot; verticalAnchor=&quot;3&quot; /&gt;&lt;font color=&quot;#C4EDEC&quot; italic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color=&quot;#C4EDEC&quot; italic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color=&quot;#C4EDEC&quot; italic=&quot;1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color=&quot;#C4EDEC&quot; italic=&quot;1&quot; /&gt;&lt;/element&gt;&lt;element field=&quot;pageno&quot; type=&quot;autoshape&quot; autoShapeType=&quot;1&quot;&gt;&lt;paragraphformat alignment=&quot;3&quot; /&gt;&lt;textframe marginLeft=&quot;0&quot; marginTop=&quot;0&quot; marginRight=&quot;0&quot; marginBottom=&quot;0&quot; verticalAnchor=&quot;3&quot; /&gt;&lt;font color=&quot;#C4EDEC&quot; italic=&quot;1&quot; /&gt;&lt;/element&gt;&lt;/case&gt;&lt;case level=&quot;1&quot; selected=&quot;1&quot; break=&quot;1&quot; topMinSpacing=&quot;8&quot; topMaxSpacing=&quot;8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marginTop=&quot;0&quot; marginRight=&quot;0&quot; marginBottom=&quot;0&quot; verticalAnchor=&quot;3&quot; /&gt;&lt;font color=&quot;14&quot; italic=&quot;1&quot; bold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color=&quot;14&quot; italic=&quot;1&quot; bold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textframe marginLeft=&quot;0&quot; marginTop=&quot;0&quot; marginRight=&quot;0&quot; marginBottom=&quot;0&quot; verticalAnchor=&quot;3&quot; /&gt;&lt;font color=&quot;14&quot; italic=&quot;1&quot; bold=&quot;1&quot; /&gt;&lt;/element&gt;&lt;element field=&quot;timeslot&quot; type=&quot;autoshape&quot; autoShapeType=&quot;1&quot;&gt;&lt;paragraphformat alignment=&quot;1&quot; /&gt;&lt;textframe marginLeft=&quot;0&quot; marginTop=&quot;0&quot; marginRight=&quot;0&quot; marginBottom=&quot;0&quot; verticalAnchor=&quot;3&quot; /&gt;&lt;font color=&quot;14&quot; italic=&quot;1&quot; bold=&quot;1&quot; /&gt;&lt;/element&gt;&lt;element field=&quot;pageno&quot; type=&quot;autoshape&quot; autoShapeType=&quot;1&quot;&gt;&lt;paragraphformat alignment=&quot;3&quot; /&gt;&lt;textframe marginLeft=&quot;0&quot; marginTop=&quot;0&quot; marginRight=&quot;0&quot; marginBottom=&quot;0&quot; verticalAnchor=&quot;3&quot; /&gt;&lt;font color=&quot;14&quot; italic=&quot;1&quot; bold=&quot;1&quot; /&gt;&lt;/element&gt;&lt;/case&gt;&lt;/cases&gt;&lt;!-- Elements on slide independent of items --&gt;&lt;elements&gt;&lt;element type=&quot;textbox&quot; zOrder=&quot;1&quot; value=&quot;%agendaTitle%&quot; slideType=&quot;1&quot;&gt;&lt;position left=&quot;0&quot; top=&quot;-48.02842&quot; width=&quot;657.5431&quot; height=&quot;32.23173&quot; /&gt;&lt;font name=&quot;+mn-lt&quot; size=&quot;28&quot; bold=&quot;1&quot; italic=&quot;0&quot; color=&quot;13&quot; /&gt;&lt;textframe wordWrap=&quot;0&quot; marginLeft=&quot;0&quot; marginBottom=&quot;0&quot; marginRight=&quot;0&quot; marginTop=&quot;0&quot; verticalAnchor=&quot;3&quot; /&gt;&lt;paragraphformat alignment=&quot;1&quot; /&gt;&lt;/element&gt;&lt;element type=&quot;textbox&quot; zOrder=&quot;1&quot; value=&quot;%agendaTitle%&quot; slideType=&quot;2&quot;&gt;&lt;position left=&quot;0&quot; top=&quot;-48.02842&quot; width=&quot;657.5431&quot; height=&quot;32.23173&quot; /&gt;&lt;font name=&quot;+mn-lt&quot; size=&quot;28&quot; bold=&quot;1&quot; italic=&quot;0&quot; color=&quot;14&quot; /&gt;&lt;textframe wordWrap=&quot;0&quot; marginLeft=&quot;0&quot; marginBottom=&quot;0&quot; marginRight=&quot;0&quot; marginTop=&quot;0&quot; verticalAnchor=&quot;3&quot; /&gt;&lt;paragraphformat alignment=&quot;1&quot; /&gt;&lt;/element&gt;&lt;element type=&quot;picture&quot; picture=&quot;content.png&quot; value=&quot;&quot; slideType=&quot;1&quot;&gt;&lt;position left=&quot;425.70078&quot; top=&quot;-90&quot; width=&quot;263.6114&quot; height=&quot;405&quot; /&gt;&lt;/element&gt;&lt;/elements&gt;&lt;/layout&gt;&lt;/layouts&gt;&lt;contents&gt;&lt;agenda name=&quot;New Agenda&quot; title=&quot;Inhalt&quot; subtitle=&quot;&quot; sizingModeId=&quot;1&quot; fontSize=&quot;16&quot; fontSizeAuto=&quot;1&quot; startTime=&quot;540&quot; timeFormatId=&quot;1&quot; startItemNo=&quot;1&quot; createSingleAgendaSlide=&quot;1&quot; createSeparatingSlides=&quot;1&quot; createBackupSlide=&quot;1&quot; layoutId=&quot;957_2&quot; hideSeparatingSlides=&quot;0&quot; createSections=&quot;1&quot; singleSlideId=&quot;d3811177-97b8-450f-b39e-6e66bbc69a62&quot; backupSlideId=&quot;dbc4144e-ba9e-42da-b7a7-0baf6f52d7ec&quot; backupSectionId=&quot;{11AE1F72-DA7E-40F1-AFC1-B58D1E23C33C}&quot;&gt;&lt;columns leftSpacing=&quot;0&quot; rightSpacing=&quot;0&quot;&gt;&lt;column field=&quot;itemno&quot; label=&quot;No.&quot; checked=&quot;0&quot; leftSpacing=&quot;0&quot; rightSpacing=&quot;0&quot; dock=&quot;1&quot; fixedWidth=&quot;30&quot; /&gt;&lt;column field=&quot;topic&quot; label=&quot;Topic&quot; leftSpacing=&quot;0&quot; rightDistribute=&quot;1&quot; dock=&quot;1&quot; rightSpacing=&quot;58.45935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1&quot; leftSpacing=&quot;10&quot; rightSpacing=&quot;6&quot; dock=&quot;2&quot; /&gt;&lt;/columns&gt;&lt;items&gt;&lt;item duration=&quot;30&quot; id=&quot;48d4e341-bb1e-44bf-90c3-c89f71a457fc&quot; parentId=&quot;&quot; level=&quot;1&quot; generateAgendaSlide=&quot;1&quot; showAgendaItem=&quot;1&quot; isBreak=&quot;0&quot; topic=&quot;Management Summary&quot; agendaSlideId=&quot;5e50221d-ecb9-4295-8278-ac186c33b9e7&quot; sectionId=&quot;{E04DC33A-687C-4DFC-A253-A175F3FAD135}&quot; /&gt;&lt;item duration=&quot;30&quot; id=&quot;44a54973-4deb-4c1d-90f1-a1f0e18d79d7&quot; parentId=&quot;&quot; level=&quot;1&quot; generateAgendaSlide=&quot;1&quot; showAgendaItem=&quot;1&quot; isBreak=&quot;0&quot; topic=&quot;Ausgangssituation und Vorgehensweise&quot; agendaSlideId=&quot;8b19db07-79dc-40fa-bd6d-2e1419805c6d&quot; sectionId=&quot;{00C26C66-F3F9-45BE-96B6-03B18E6C948E}&quot; /&gt;&lt;item duration=&quot;30&quot; id=&quot;25bcdac4-eb0e-4e85-88a4-af7d44b93a5e&quot; parentId=&quot;&quot; level=&quot;1&quot; generateAgendaSlide=&quot;1&quot; showAgendaItem=&quot;1&quot; isBreak=&quot;0&quot; topic=&quot;Projektergebnisse&quot; agendaSlideId=&quot;f6a719f1-7bba-4cb6-89fc-72496f4c3da5&quot; sectionId=&quot;{52E4BF8A-E1AB-4329-B123-0F60989170BA}&quot; /&gt;&lt;item duration=&quot;30&quot; id=&quot;338e9b15-55a5-487e-8820-6cb71a447992&quot; parentId=&quot;25bcdac4-eb0e-4e85-88a4-af7d44b93a5e&quot; level=&quot;2&quot; generateAgendaSlide=&quot;1&quot; showAgendaItem=&quot;1&quot; isBreak=&quot;0&quot; topic=&quot;Markenstärke&quot; agendaSlideId=&quot;d4a20e00-ff0d-435a-992e-07166b91f355&quot; sectionId=&quot;{0C1CB70A-9D6A-4CC4-B799-8D878DDB30DE}&quot; /&gt;&lt;item duration=&quot;30&quot; id=&quot;180ec137-dd08-4960-928f-ad392717a9e2&quot; parentId=&quot;25bcdac4-eb0e-4e85-88a4-af7d44b93a5e&quot; level=&quot;2&quot; generateAgendaSlide=&quot;1&quot; showAgendaItem=&quot;1&quot; isBreak=&quot;0&quot; topic=&quot;Monetärer Markenwert&quot; agendaSlideId=&quot;ae7c5c08-ea43-41c5-913c-282d1df83717&quot; sectionId=&quot;{E05DFE0E-FDAA-4208-A899-4AFF106AB86A}&quot; /&gt;&lt;item duration=&quot;30&quot; id=&quot;d1427df4-e0b5-4814-8908-af7ed7eab881&quot; parentId=&quot;25bcdac4-eb0e-4e85-88a4-af7d44b93a5e&quot; level=&quot;2&quot; generateAgendaSlide=&quot;1&quot; showAgendaItem=&quot;1&quot; isBreak=&quot;0&quot; topic=&quot;Partnerschaftliche Lizenzraten &amp;amp; Umsatzpotenziale&quot; agendaSlideId=&quot;1bdd592e-5ada-4e50-b7d0-1ea1ba733b8c&quot; sectionId=&quot;{DDACDC73-DD75-48D5-92E7-617468957A18}&quot; /&gt;&lt;item duration=&quot;30&quot; id=&quot;505b226b-fab1-4c10-91af-08d07515bc6f&quot; parentId=&quot;&quot; level=&quot;1&quot; generateAgendaSlide=&quot;1&quot; showAgendaItem=&quot;1&quot; isBreak=&quot;0&quot; topic=&quot;Ausblick&quot; agendaSlideId=&quot;ccdf3e4b-8537-44fc-991c-32c7ffd8cd0f&quot; sectionId=&quot;{EAE6076C-C31F-4A8A-99E1-4F66B8100C4C}&quot; /&gt;&lt;item duration=&quot;30&quot; id=&quot;77839183-b24e-492e-9635-4429368e18cd&quot; parentId=&quot;&quot; level=&quot;1&quot; generateAgendaSlide=&quot;1&quot; showAgendaItem=&quot;1&quot; isBreak=&quot;0&quot; topic=&quot;Kontakt&quot; agendaSlideId=&quot;930475b9-7ee6-4ad7-8dd5-5d5803130dbc&quot; sectionId=&quot;{35591B93-0561-4C4C-A9B3-3BDCD38996DB}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56.8259/0/263.6114/40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56.8259/0/263.6114/405"/>
</p:tagLst>
</file>

<file path=ppt/theme/theme1.xml><?xml version="1.0" encoding="utf-8"?>
<a:theme xmlns:a="http://schemas.openxmlformats.org/drawingml/2006/main" name="Nielsen_Presentation Template_Widescreen_2022.2">
  <a:themeElements>
    <a:clrScheme name="Nielsen Rebrand">
      <a:dk1>
        <a:srgbClr val="000000"/>
      </a:dk1>
      <a:lt1>
        <a:srgbClr val="FFFFFF"/>
      </a:lt1>
      <a:dk2>
        <a:srgbClr val="002041"/>
      </a:dk2>
      <a:lt2>
        <a:srgbClr val="F7F7F9"/>
      </a:lt2>
      <a:accent1>
        <a:srgbClr val="6E37FA"/>
      </a:accent1>
      <a:accent2>
        <a:srgbClr val="32BBB9"/>
      </a:accent2>
      <a:accent3>
        <a:srgbClr val="FF9408"/>
      </a:accent3>
      <a:accent4>
        <a:srgbClr val="F40953"/>
      </a:accent4>
      <a:accent5>
        <a:srgbClr val="4D577D"/>
      </a:accent5>
      <a:accent6>
        <a:srgbClr val="B5B8C9"/>
      </a:accent6>
      <a:hlink>
        <a:srgbClr val="6E37FA"/>
      </a:hlink>
      <a:folHlink>
        <a:srgbClr val="32BBB9"/>
      </a:folHlink>
    </a:clrScheme>
    <a:fontScheme name="Custom 4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/>
        </a:defPPr>
      </a:lstStyle>
    </a:spDef>
    <a:lnDef>
      <a:spPr>
        <a:ln w="9525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noProof="0" dirty="0" err="1" smtClean="0"/>
        </a:defPPr>
      </a:lstStyle>
    </a:txDef>
  </a:objectDefaults>
  <a:extraClrSchemeLst/>
  <a:custClrLst>
    <a:custClr name="Nielsen Purple Shade1">
      <a:srgbClr val="4614B4"/>
    </a:custClr>
    <a:custClr name="Nielsen Aqua Shade1">
      <a:srgbClr val="00889B"/>
    </a:custClr>
    <a:custClr name="Nielsen Orange Shade1">
      <a:srgbClr val="EB6E00"/>
    </a:custClr>
    <a:custClr name="Nielsen Red Shade1">
      <a:srgbClr val="BE003C"/>
    </a:custClr>
    <a:custClr name="Nielsen Magenta Shade1">
      <a:srgbClr val="C80082"/>
    </a:custClr>
    <a:custClr name="Nielsen Eggplant Shade1">
      <a:srgbClr val="81006E"/>
    </a:custClr>
    <a:custClr name="Nielsen Canary Shade1">
      <a:srgbClr val="F0B300"/>
    </a:custClr>
    <a:custClr name="Nielsen Chartreuse Shade1">
      <a:srgbClr val="74D22C"/>
    </a:custClr>
    <a:custClr name="Nielsen Mint Shade1">
      <a:srgbClr val="00AA8C"/>
    </a:custClr>
    <a:custClr name="Nielsen Cobalt Shade1">
      <a:srgbClr val="0049BE"/>
    </a:custClr>
    <a:custClr name="Nielsen Purple">
      <a:srgbClr val="6E37FA"/>
    </a:custClr>
    <a:custClr name="Nielsen Aqua">
      <a:srgbClr val="32BBB9"/>
    </a:custClr>
    <a:custClr name="Nielsen Orange">
      <a:srgbClr val="FF9408"/>
    </a:custClr>
    <a:custClr name="Nielsen Red">
      <a:srgbClr val="F40953"/>
    </a:custClr>
    <a:custClr name="Nielsen Magenta">
      <a:srgbClr val="FA32A0"/>
    </a:custClr>
    <a:custClr name="Nielsen Eggplant">
      <a:srgbClr val="B30095"/>
    </a:custClr>
    <a:custClr name="Nielsen Canary">
      <a:srgbClr val="FFD500"/>
    </a:custClr>
    <a:custClr name="Nielsen Chartreuse">
      <a:srgbClr val="AAF564"/>
    </a:custClr>
    <a:custClr name="Nielsen Mint">
      <a:srgbClr val="50E6AA"/>
    </a:custClr>
    <a:custClr name="Nielsen Cobalt">
      <a:srgbClr val="2765F0"/>
    </a:custClr>
    <a:custClr name="Nielsen Purple Shade2">
      <a:srgbClr val="9682FF"/>
    </a:custClr>
    <a:custClr name="Nielsen Aqua Shade2">
      <a:srgbClr val="88DCDA"/>
    </a:custClr>
    <a:custClr name="Nielsen Orange Shade2">
      <a:srgbClr val="FFBE6A"/>
    </a:custClr>
    <a:custClr name="Nielsen Red Shade2">
      <a:srgbClr val="FF8296"/>
    </a:custClr>
    <a:custClr name="Nielsen Magenta Shade2">
      <a:srgbClr val="FF8CC8"/>
    </a:custClr>
    <a:custClr name="Nielsen Eggplant Shade2">
      <a:srgbClr val="D13CBD"/>
    </a:custClr>
    <a:custClr name="Nielsen Canary Shade2">
      <a:srgbClr val="FFEA69"/>
    </a:custClr>
    <a:custClr name="Nielsen Chartreuse Shade2">
      <a:srgbClr val="C8FF78"/>
    </a:custClr>
    <a:custClr name="Nielsen Mint Shade2">
      <a:srgbClr val="8FEFC8"/>
    </a:custClr>
    <a:custClr name="Nielsen Cobalt Shade2">
      <a:srgbClr val="1E96F0"/>
    </a:custClr>
    <a:custClr name="Nielsen Purple Shade3">
      <a:srgbClr val="BEB4FF"/>
    </a:custClr>
    <a:custClr name="Nielsen Aqua Shade3">
      <a:srgbClr val="C4EDEC"/>
    </a:custClr>
    <a:custClr name="Nielsen Orange Shade3">
      <a:srgbClr val="FEDEB4"/>
    </a:custClr>
    <a:custClr name="Nielsen Red Shade3">
      <a:srgbClr val="FFAEBB"/>
    </a:custClr>
    <a:custClr name="Nielsen Magenta Shade3">
      <a:srgbClr val="FFB4DD"/>
    </a:custClr>
    <a:custClr name="Nielsen Eggplant Shade3">
      <a:srgbClr val="E694D9"/>
    </a:custClr>
    <a:custClr name="Nielsen Canary Shade3">
      <a:srgbClr val="FFF4B3"/>
    </a:custClr>
    <a:custClr name="Nielsen Chartreuse Shade3">
      <a:srgbClr val="DCFFAE"/>
    </a:custClr>
    <a:custClr name="Nielsen Mint Shade3">
      <a:srgbClr val="C1F6DC"/>
    </a:custClr>
    <a:custClr name="Nielsen Cobalt Shade3">
      <a:srgbClr val="64BEF0"/>
    </a:custClr>
  </a:custClrLst>
  <a:extLst>
    <a:ext uri="{05A4C25C-085E-4340-85A3-A5531E510DB2}">
      <thm15:themeFamily xmlns:thm15="http://schemas.microsoft.com/office/thememl/2012/main" name="Nielsen_Presentation Template_Widescreen_2023.potx" id="{FB7B4D80-0D67-44DF-A65C-7049A74E7357}" vid="{869A4297-C0EA-4F3D-9F8A-E151D6BF0E0B}"/>
    </a:ext>
  </a:extLst>
</a:theme>
</file>

<file path=ppt/theme/theme2.xml><?xml version="1.0" encoding="utf-8"?>
<a:theme xmlns:a="http://schemas.openxmlformats.org/drawingml/2006/main" name="Theme1">
  <a:themeElements>
    <a:clrScheme name="Nielsen Rebrand">
      <a:dk1>
        <a:srgbClr val="000000"/>
      </a:dk1>
      <a:lt1>
        <a:srgbClr val="FFFFFF"/>
      </a:lt1>
      <a:dk2>
        <a:srgbClr val="002041"/>
      </a:dk2>
      <a:lt2>
        <a:srgbClr val="F7F7F9"/>
      </a:lt2>
      <a:accent1>
        <a:srgbClr val="6E37FA"/>
      </a:accent1>
      <a:accent2>
        <a:srgbClr val="32BBB9"/>
      </a:accent2>
      <a:accent3>
        <a:srgbClr val="FF9408"/>
      </a:accent3>
      <a:accent4>
        <a:srgbClr val="F40953"/>
      </a:accent4>
      <a:accent5>
        <a:srgbClr val="4D577D"/>
      </a:accent5>
      <a:accent6>
        <a:srgbClr val="B5B8C9"/>
      </a:accent6>
      <a:hlink>
        <a:srgbClr val="6E37FA"/>
      </a:hlink>
      <a:folHlink>
        <a:srgbClr val="32BBB9"/>
      </a:folHlink>
    </a:clrScheme>
    <a:fontScheme name="Custom 4">
      <a:majorFont>
        <a:latin typeface="Inter"/>
        <a:ea typeface=""/>
        <a:cs typeface=""/>
      </a:majorFont>
      <a:minorFont>
        <a:latin typeface="Inter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algn="l">
          <a:defRPr/>
        </a:defPPr>
      </a:lstStyle>
    </a:spDef>
    <a:lnDef>
      <a:spPr>
        <a:ln w="9525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000" noProof="0" dirty="0" err="1" smtClean="0"/>
        </a:defPPr>
      </a:lstStyle>
    </a:txDef>
  </a:objectDefaults>
  <a:extraClrSchemeLst/>
  <a:custClrLst>
    <a:custClr name="Nielsen Purple Shade1">
      <a:srgbClr val="4614B4"/>
    </a:custClr>
    <a:custClr name="Nielsen Aqua Shade1">
      <a:srgbClr val="00889B"/>
    </a:custClr>
    <a:custClr name="Nielsen Orange Shade1">
      <a:srgbClr val="EB6E00"/>
    </a:custClr>
    <a:custClr name="Nielsen Red Shade1">
      <a:srgbClr val="BE003C"/>
    </a:custClr>
    <a:custClr name="Nielsen Magenta Shade1">
      <a:srgbClr val="C80082"/>
    </a:custClr>
    <a:custClr name="Nielsen Eggplant Shade1">
      <a:srgbClr val="81006E"/>
    </a:custClr>
    <a:custClr name="Nielsen Canary Shade1">
      <a:srgbClr val="F0B300"/>
    </a:custClr>
    <a:custClr name="Nielsen Chartreuse Shade1">
      <a:srgbClr val="74D22C"/>
    </a:custClr>
    <a:custClr name="Nielsen Mint Shade1">
      <a:srgbClr val="00AA8C"/>
    </a:custClr>
    <a:custClr name="Nielsen Cobalt Shade1">
      <a:srgbClr val="0049BE"/>
    </a:custClr>
    <a:custClr name="Nielsen Purple">
      <a:srgbClr val="6E37FA"/>
    </a:custClr>
    <a:custClr name="Nielsen Aqua">
      <a:srgbClr val="32BBB9"/>
    </a:custClr>
    <a:custClr name="Nielsen Orange">
      <a:srgbClr val="FF9408"/>
    </a:custClr>
    <a:custClr name="Nielsen Red">
      <a:srgbClr val="F40953"/>
    </a:custClr>
    <a:custClr name="Nielsen Magenta">
      <a:srgbClr val="FA32A0"/>
    </a:custClr>
    <a:custClr name="Nielsen Eggplant">
      <a:srgbClr val="B30095"/>
    </a:custClr>
    <a:custClr name="Nielsen Canary">
      <a:srgbClr val="FFD500"/>
    </a:custClr>
    <a:custClr name="Nielsen Chartreuse">
      <a:srgbClr val="AAF564"/>
    </a:custClr>
    <a:custClr name="Nielsen Mint">
      <a:srgbClr val="50E6AA"/>
    </a:custClr>
    <a:custClr name="Nielsen Cobalt">
      <a:srgbClr val="2765F0"/>
    </a:custClr>
    <a:custClr name="Nielsen Purple Shade2">
      <a:srgbClr val="9682FF"/>
    </a:custClr>
    <a:custClr name="Nielsen Aqua Shade2">
      <a:srgbClr val="88DCDA"/>
    </a:custClr>
    <a:custClr name="Nielsen Orange Shade2">
      <a:srgbClr val="FFBE6A"/>
    </a:custClr>
    <a:custClr name="Nielsen Red Shade2">
      <a:srgbClr val="FF8296"/>
    </a:custClr>
    <a:custClr name="Nielsen Magenta Shade2">
      <a:srgbClr val="FF8CC8"/>
    </a:custClr>
    <a:custClr name="Nielsen Eggplant Shade2">
      <a:srgbClr val="D13CBD"/>
    </a:custClr>
    <a:custClr name="Nielsen Canary Shade2">
      <a:srgbClr val="FFEA69"/>
    </a:custClr>
    <a:custClr name="Nielsen Chartreuse Shade2">
      <a:srgbClr val="C8FF78"/>
    </a:custClr>
    <a:custClr name="Nielsen Mint Shade2">
      <a:srgbClr val="8FEFC8"/>
    </a:custClr>
    <a:custClr name="Nielsen Cobalt Shade2">
      <a:srgbClr val="1E96F0"/>
    </a:custClr>
    <a:custClr name="Nielsen Purple Shade3">
      <a:srgbClr val="BEB4FF"/>
    </a:custClr>
    <a:custClr name="Nielsen Aqua Shade3">
      <a:srgbClr val="C4EDEC"/>
    </a:custClr>
    <a:custClr name="Nielsen Orange Shade3">
      <a:srgbClr val="FEDEB4"/>
    </a:custClr>
    <a:custClr name="Nielsen Red Shade3">
      <a:srgbClr val="FFAEBB"/>
    </a:custClr>
    <a:custClr name="Nielsen Magenta Shade3">
      <a:srgbClr val="FFB4DD"/>
    </a:custClr>
    <a:custClr name="Nielsen Eggplant Shade3">
      <a:srgbClr val="E694D9"/>
    </a:custClr>
    <a:custClr name="Nielsen Canary Shade3">
      <a:srgbClr val="FFF4B3"/>
    </a:custClr>
    <a:custClr name="Nielsen Chartreuse Shade3">
      <a:srgbClr val="DCFFAE"/>
    </a:custClr>
    <a:custClr name="Nielsen Mint Shade3">
      <a:srgbClr val="C1F6DC"/>
    </a:custClr>
    <a:custClr name="Nielsen Cobalt Shade3">
      <a:srgbClr val="64BEF0"/>
    </a:custClr>
  </a:custClrLst>
  <a:extLst>
    <a:ext uri="{05A4C25C-085E-4340-85A3-A5531E510DB2}">
      <thm15:themeFamily xmlns:thm15="http://schemas.microsoft.com/office/thememl/2012/main" name="Theme1" id="{569B088A-2DFA-491F-8AE5-B8CA631F9737}" vid="{4BC07F75-54B3-41A2-BC3C-5C638DAB1571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ielsen Rebrand">
    <a:dk1>
      <a:srgbClr val="000000"/>
    </a:dk1>
    <a:lt1>
      <a:srgbClr val="FFFFFF"/>
    </a:lt1>
    <a:dk2>
      <a:srgbClr val="002041"/>
    </a:dk2>
    <a:lt2>
      <a:srgbClr val="F7F7F9"/>
    </a:lt2>
    <a:accent1>
      <a:srgbClr val="6E37FA"/>
    </a:accent1>
    <a:accent2>
      <a:srgbClr val="32BBB9"/>
    </a:accent2>
    <a:accent3>
      <a:srgbClr val="FF9408"/>
    </a:accent3>
    <a:accent4>
      <a:srgbClr val="F40953"/>
    </a:accent4>
    <a:accent5>
      <a:srgbClr val="4D577D"/>
    </a:accent5>
    <a:accent6>
      <a:srgbClr val="B5B8C9"/>
    </a:accent6>
    <a:hlink>
      <a:srgbClr val="6E37FA"/>
    </a:hlink>
    <a:folHlink>
      <a:srgbClr val="32BBB9"/>
    </a:folHlink>
  </a:clrScheme>
</a:themeOverride>
</file>

<file path=ppt/theme/themeOverride2.xml><?xml version="1.0" encoding="utf-8"?>
<a:themeOverride xmlns:a="http://schemas.openxmlformats.org/drawingml/2006/main">
  <a:clrScheme name="Nielsen Rebrand">
    <a:dk1>
      <a:srgbClr val="000000"/>
    </a:dk1>
    <a:lt1>
      <a:srgbClr val="FFFFFF"/>
    </a:lt1>
    <a:dk2>
      <a:srgbClr val="002041"/>
    </a:dk2>
    <a:lt2>
      <a:srgbClr val="F7F7F9"/>
    </a:lt2>
    <a:accent1>
      <a:srgbClr val="6E37FA"/>
    </a:accent1>
    <a:accent2>
      <a:srgbClr val="32BBB9"/>
    </a:accent2>
    <a:accent3>
      <a:srgbClr val="FF9408"/>
    </a:accent3>
    <a:accent4>
      <a:srgbClr val="F40953"/>
    </a:accent4>
    <a:accent5>
      <a:srgbClr val="4D577D"/>
    </a:accent5>
    <a:accent6>
      <a:srgbClr val="B5B8C9"/>
    </a:accent6>
    <a:hlink>
      <a:srgbClr val="6E37FA"/>
    </a:hlink>
    <a:folHlink>
      <a:srgbClr val="32BBB9"/>
    </a:folHlink>
  </a:clrScheme>
</a:themeOverride>
</file>

<file path=ppt/theme/themeOverride3.xml><?xml version="1.0" encoding="utf-8"?>
<a:themeOverride xmlns:a="http://schemas.openxmlformats.org/drawingml/2006/main">
  <a:clrScheme name="Nielsen Rebrand">
    <a:dk1>
      <a:srgbClr val="000000"/>
    </a:dk1>
    <a:lt1>
      <a:srgbClr val="FFFFFF"/>
    </a:lt1>
    <a:dk2>
      <a:srgbClr val="002041"/>
    </a:dk2>
    <a:lt2>
      <a:srgbClr val="F7F7F9"/>
    </a:lt2>
    <a:accent1>
      <a:srgbClr val="6E37FA"/>
    </a:accent1>
    <a:accent2>
      <a:srgbClr val="32BBB9"/>
    </a:accent2>
    <a:accent3>
      <a:srgbClr val="FF9408"/>
    </a:accent3>
    <a:accent4>
      <a:srgbClr val="F40953"/>
    </a:accent4>
    <a:accent5>
      <a:srgbClr val="4D577D"/>
    </a:accent5>
    <a:accent6>
      <a:srgbClr val="B5B8C9"/>
    </a:accent6>
    <a:hlink>
      <a:srgbClr val="6E37FA"/>
    </a:hlink>
    <a:folHlink>
      <a:srgbClr val="32BBB9"/>
    </a:folHlink>
  </a:clrScheme>
</a:themeOverride>
</file>

<file path=ppt/theme/themeOverride4.xml><?xml version="1.0" encoding="utf-8"?>
<a:themeOverride xmlns:a="http://schemas.openxmlformats.org/drawingml/2006/main">
  <a:clrScheme name="Nielsen Rebrand">
    <a:dk1>
      <a:srgbClr val="000000"/>
    </a:dk1>
    <a:lt1>
      <a:srgbClr val="FFFFFF"/>
    </a:lt1>
    <a:dk2>
      <a:srgbClr val="002041"/>
    </a:dk2>
    <a:lt2>
      <a:srgbClr val="F7F7F9"/>
    </a:lt2>
    <a:accent1>
      <a:srgbClr val="6E37FA"/>
    </a:accent1>
    <a:accent2>
      <a:srgbClr val="32BBB9"/>
    </a:accent2>
    <a:accent3>
      <a:srgbClr val="FF9408"/>
    </a:accent3>
    <a:accent4>
      <a:srgbClr val="F40953"/>
    </a:accent4>
    <a:accent5>
      <a:srgbClr val="4D577D"/>
    </a:accent5>
    <a:accent6>
      <a:srgbClr val="B5B8C9"/>
    </a:accent6>
    <a:hlink>
      <a:srgbClr val="6E37FA"/>
    </a:hlink>
    <a:folHlink>
      <a:srgbClr val="32BBB9"/>
    </a:folHlink>
  </a:clrScheme>
</a:themeOverrid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9">
    <wetp:webextensionref xmlns:r="http://schemas.openxmlformats.org/officeDocument/2006/relationships" r:id="rId1"/>
  </wetp:taskpane>
  <wetp:taskpane dockstate="right" visibility="0" width="350" row="1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758ABBC0-2674-4C12-B233-135DB5F81E2B}">
  <we:reference id="wa104379997" version="2.0.0.0" store="en-US" storeType="OMEX"/>
  <we:alternateReferences>
    <we:reference id="wa104379997" version="2.0.0.0" store="WA104379997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A3401C3F-2188-46E8-A206-4839624A6BC7}">
  <we:reference id="wa200001409" version="1.0.0.3" store="en-US" storeType="OMEX"/>
  <we:alternateReferences>
    <we:reference id="wa200001409" version="1.0.0.3" store="WA200001409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Nielsen_Presentation Template_Widescreen_2023</Template>
  <TotalTime>1</TotalTime>
  <Words>979</Words>
  <Application>Microsoft Office PowerPoint</Application>
  <PresentationFormat>On-screen Show (16:9)</PresentationFormat>
  <Paragraphs>121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Arial Narrow</vt:lpstr>
      <vt:lpstr>Calibri</vt:lpstr>
      <vt:lpstr>Franklin Gothic Book</vt:lpstr>
      <vt:lpstr>Inter</vt:lpstr>
      <vt:lpstr>Symbol</vt:lpstr>
      <vt:lpstr>Nielsen_Presentation Template_Widescreen_2022.2</vt:lpstr>
      <vt:lpstr>Theme1</vt:lpstr>
      <vt:lpstr>think-cell Slide</vt:lpstr>
      <vt:lpstr>How to balance brand-building and the need for short-term revenue</vt:lpstr>
      <vt:lpstr>PowerPoint Presentation</vt:lpstr>
      <vt:lpstr>PowerPoint Presentation</vt:lpstr>
      <vt:lpstr> Building your own club brand is the foundation for  long-term commercial success! </vt:lpstr>
      <vt:lpstr>I. Avoid cluttered sponsorship environments</vt:lpstr>
      <vt:lpstr>II. Exploit opportunities arising from technological advances</vt:lpstr>
      <vt:lpstr>II. Exploit opportunities arising from technological advances</vt:lpstr>
      <vt:lpstr>II. Exploit opportunities arising from technological advances</vt:lpstr>
      <vt:lpstr>III. Be deliberate in your partner selection</vt:lpstr>
      <vt:lpstr>IV. Protect your club brand identity</vt:lpstr>
      <vt:lpstr> Building your own club brand is the foundation for  long-term commercial success!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3 Hockey Business Forum</dc:title>
  <dc:creator>Julius Ranft;Felix Boronczyk;Sebastian Kurczynski</dc:creator>
  <cp:lastModifiedBy>Szymon Szemberg E.H.C.</cp:lastModifiedBy>
  <cp:revision>83</cp:revision>
  <dcterms:created xsi:type="dcterms:W3CDTF">2023-05-02T07:56:53Z</dcterms:created>
  <dcterms:modified xsi:type="dcterms:W3CDTF">2023-09-26T03:30:35Z</dcterms:modified>
</cp:coreProperties>
</file>